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0" r:id="rId1"/>
  </p:sldMasterIdLst>
  <p:notesMasterIdLst>
    <p:notesMasterId r:id="rId67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3" r:id="rId39"/>
    <p:sldId id="294" r:id="rId40"/>
    <p:sldId id="295" r:id="rId41"/>
    <p:sldId id="296" r:id="rId42"/>
    <p:sldId id="297" r:id="rId43"/>
    <p:sldId id="298" r:id="rId44"/>
    <p:sldId id="299" r:id="rId45"/>
    <p:sldId id="300" r:id="rId46"/>
    <p:sldId id="301" r:id="rId47"/>
    <p:sldId id="302" r:id="rId48"/>
    <p:sldId id="303" r:id="rId49"/>
    <p:sldId id="304" r:id="rId50"/>
    <p:sldId id="305" r:id="rId51"/>
    <p:sldId id="306" r:id="rId52"/>
    <p:sldId id="307" r:id="rId53"/>
    <p:sldId id="308" r:id="rId54"/>
    <p:sldId id="309" r:id="rId55"/>
    <p:sldId id="310" r:id="rId56"/>
    <p:sldId id="311" r:id="rId57"/>
    <p:sldId id="312" r:id="rId58"/>
    <p:sldId id="313" r:id="rId59"/>
    <p:sldId id="314" r:id="rId60"/>
    <p:sldId id="315" r:id="rId61"/>
    <p:sldId id="316" r:id="rId62"/>
    <p:sldId id="317" r:id="rId63"/>
    <p:sldId id="318" r:id="rId64"/>
    <p:sldId id="319" r:id="rId65"/>
    <p:sldId id="320" r:id="rId6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74"/>
  </p:normalViewPr>
  <p:slideViewPr>
    <p:cSldViewPr snapToGrid="0" snapToObjects="1">
      <p:cViewPr varScale="1">
        <p:scale>
          <a:sx n="124" d="100"/>
          <a:sy n="124" d="100"/>
        </p:scale>
        <p:origin x="64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 109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0" name="Shape 110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2257" y="685800"/>
            <a:ext cx="10058400" cy="3657600"/>
          </a:xfrm>
          <a:prstGeom prst="rect">
            <a:avLst/>
          </a:prstGeom>
        </p:spPr>
        <p:txBody>
          <a:bodyPr anchor="t" anchorCtr="0"/>
          <a:lstStyle>
            <a:lvl1pPr>
              <a:defRPr sz="5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1AB164B-0894-B142-A83D-CC15DEBBD68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11293832" y="5627914"/>
            <a:ext cx="571456" cy="90913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AA1506-7899-5843-A44E-BB8E80613307}"/>
              </a:ext>
            </a:extLst>
          </p:cNvPr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7809509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005" y="4876788"/>
            <a:ext cx="9570195" cy="56673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1348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93005" y="762000"/>
            <a:ext cx="9570195" cy="3640666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009" y="5443526"/>
            <a:ext cx="9570193" cy="493713"/>
          </a:xfrm>
        </p:spPr>
        <p:txBody>
          <a:bodyPr>
            <a:normAutofit/>
          </a:bodyPr>
          <a:lstStyle>
            <a:lvl1pPr marL="0" indent="0">
              <a:buNone/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346D643-3D40-A544-BA11-C5702B803186}"/>
              </a:ext>
            </a:extLst>
          </p:cNvPr>
          <p:cNvCxnSpPr>
            <a:cxnSpLocks/>
          </p:cNvCxnSpPr>
          <p:nvPr/>
        </p:nvCxnSpPr>
        <p:spPr>
          <a:xfrm>
            <a:off x="793005" y="4816208"/>
            <a:ext cx="9570195" cy="0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33372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0699" y="892630"/>
            <a:ext cx="7720019" cy="3286126"/>
          </a:xfrm>
          <a:prstGeom prst="rect">
            <a:avLst/>
          </a:prstGeom>
        </p:spPr>
        <p:txBody>
          <a:bodyPr/>
          <a:lstStyle>
            <a:lvl1pPr>
              <a:defRPr sz="2696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1289274" y="4401915"/>
            <a:ext cx="7279649" cy="498747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011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marL="0" lvl="0" indent="0">
              <a:buNone/>
            </a:pPr>
            <a:r>
              <a:rPr lang="en-US" dirty="0"/>
              <a:t>- QUOTE AUTHO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1161" y="416085"/>
            <a:ext cx="801912" cy="1146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6853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976705" y="3431633"/>
            <a:ext cx="801912" cy="1146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6853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2786940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641" y="1234442"/>
            <a:ext cx="7720019" cy="828040"/>
          </a:xfrm>
          <a:prstGeom prst="rect">
            <a:avLst/>
          </a:prstGeom>
        </p:spPr>
        <p:txBody>
          <a:bodyPr/>
          <a:lstStyle>
            <a:lvl1pPr>
              <a:defRPr sz="2696"/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C302B9C-2E99-DD43-B6BC-73FCC0BAA5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4641" y="2393632"/>
            <a:ext cx="7720019" cy="236124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177E7E-7C5D-534C-BCB5-67E15CA69734}"/>
              </a:ext>
            </a:extLst>
          </p:cNvPr>
          <p:cNvSpPr/>
          <p:nvPr/>
        </p:nvSpPr>
        <p:spPr>
          <a:xfrm>
            <a:off x="694641" y="4968240"/>
            <a:ext cx="4672016" cy="65024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921" dirty="0"/>
              <a:t>CALL OUT or CALL TO ACTION can go here</a:t>
            </a:r>
          </a:p>
        </p:txBody>
      </p:sp>
    </p:spTree>
    <p:extLst>
      <p:ext uri="{BB962C8B-B14F-4D97-AF65-F5344CB8AC3E}">
        <p14:creationId xmlns:p14="http://schemas.microsoft.com/office/powerpoint/2010/main" val="238675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5988" y="2962275"/>
            <a:ext cx="2946867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45503" y="3648076"/>
            <a:ext cx="2927351" cy="2381250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76704" y="2962275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66147" y="3648076"/>
            <a:ext cx="2946795" cy="2381250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17742" y="2962275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17742" y="3648076"/>
            <a:ext cx="2932113" cy="2381250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3719183" y="3114676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6955267" y="3114676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851FE1CA-4C16-AD45-BD54-500EEF78C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9525150-06D1-F64E-A049-783F7E29F5F6}"/>
              </a:ext>
            </a:extLst>
          </p:cNvPr>
          <p:cNvSpPr/>
          <p:nvPr/>
        </p:nvSpPr>
        <p:spPr>
          <a:xfrm>
            <a:off x="721240" y="1633540"/>
            <a:ext cx="1266825" cy="1266826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AE72322-60BD-2643-8938-E19617DB5104}"/>
              </a:ext>
            </a:extLst>
          </p:cNvPr>
          <p:cNvSpPr/>
          <p:nvPr/>
        </p:nvSpPr>
        <p:spPr>
          <a:xfrm>
            <a:off x="3971952" y="1633540"/>
            <a:ext cx="1266825" cy="1266826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C76404-DA09-8443-9D3C-1696077594EF}"/>
              </a:ext>
            </a:extLst>
          </p:cNvPr>
          <p:cNvSpPr/>
          <p:nvPr/>
        </p:nvSpPr>
        <p:spPr>
          <a:xfrm>
            <a:off x="7212994" y="1633540"/>
            <a:ext cx="1266825" cy="1266826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/>
          </a:p>
        </p:txBody>
      </p:sp>
    </p:spTree>
    <p:extLst>
      <p:ext uri="{BB962C8B-B14F-4D97-AF65-F5344CB8AC3E}">
        <p14:creationId xmlns:p14="http://schemas.microsoft.com/office/powerpoint/2010/main" val="16062617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3641350"/>
            <a:ext cx="2940052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1819276"/>
            <a:ext cx="2940052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217613"/>
            <a:ext cx="2940052" cy="1487866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8" y="3641350"/>
            <a:ext cx="2930524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7" y="1819276"/>
            <a:ext cx="2930524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3" y="4217613"/>
            <a:ext cx="2934408" cy="1487866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2" y="364135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702" y="1819276"/>
            <a:ext cx="2932113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8" y="4217610"/>
            <a:ext cx="2935996" cy="1487866"/>
          </a:xfrm>
        </p:spPr>
        <p:txBody>
          <a:bodyPr anchor="t">
            <a:normAutofit/>
          </a:bodyPr>
          <a:lstStyle>
            <a:lvl1pPr marL="0" indent="0">
              <a:buNone/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3" y="1743076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8" y="1743076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F638FCE4-00A7-BB4E-98EC-AB681132F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920010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587006"/>
            <a:ext cx="8825659" cy="1683993"/>
          </a:xfrm>
          <a:prstGeom prst="rect">
            <a:avLst/>
          </a:prstGeom>
        </p:spPr>
        <p:txBody>
          <a:bodyPr anchor="t" anchorCtr="0"/>
          <a:lstStyle>
            <a:lvl1pPr algn="ctr">
              <a:defRPr sz="53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568660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A7502509-4FE6-E24C-AA96-C740FC421C24}"/>
              </a:ext>
            </a:extLst>
          </p:cNvPr>
          <p:cNvSpPr/>
          <p:nvPr/>
        </p:nvSpPr>
        <p:spPr>
          <a:xfrm>
            <a:off x="5737780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92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B1010D-DEFC-A24B-9C13-2017C9E202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7" y="480151"/>
            <a:ext cx="416328" cy="52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1725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193803" y="1149350"/>
            <a:ext cx="9810751" cy="232410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93803" y="3536951"/>
            <a:ext cx="9810751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236"/>
            </a:lvl1pPr>
            <a:lvl2pPr marL="0" indent="0" algn="ctr">
              <a:spcBef>
                <a:spcPts val="0"/>
              </a:spcBef>
              <a:buSzTx/>
              <a:buNone/>
              <a:defRPr sz="1236"/>
            </a:lvl2pPr>
            <a:lvl3pPr marL="0" indent="0" algn="ctr">
              <a:spcBef>
                <a:spcPts val="0"/>
              </a:spcBef>
              <a:buSzTx/>
              <a:buNone/>
              <a:defRPr sz="1236"/>
            </a:lvl3pPr>
            <a:lvl4pPr marL="0" indent="0" algn="ctr">
              <a:spcBef>
                <a:spcPts val="0"/>
              </a:spcBef>
              <a:buSzTx/>
              <a:buNone/>
              <a:defRPr sz="1236"/>
            </a:lvl4pPr>
            <a:lvl5pPr marL="0" indent="0" algn="ctr">
              <a:spcBef>
                <a:spcPts val="0"/>
              </a:spcBef>
              <a:buSzTx/>
              <a:buNone/>
              <a:defRPr sz="1236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20451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1193803" y="4476752"/>
            <a:ext cx="9810751" cy="256673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068" b="1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/>
          </p:nvPr>
        </p:nvSpPr>
        <p:spPr>
          <a:xfrm>
            <a:off x="1193803" y="3003552"/>
            <a:ext cx="9810751" cy="33438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955"/>
              </a:spcBef>
              <a:buSzTx/>
              <a:buNone/>
              <a:defRPr sz="157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07307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841917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 txBox="1">
            <a:spLocks noGrp="1"/>
          </p:cNvSpPr>
          <p:nvPr>
            <p:ph type="title"/>
          </p:nvPr>
        </p:nvSpPr>
        <p:spPr>
          <a:xfrm>
            <a:off x="1193803" y="2266950"/>
            <a:ext cx="9810751" cy="2324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9" y="6502401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59097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038199"/>
            <a:ext cx="8825659" cy="2619548"/>
          </a:xfrm>
          <a:prstGeom prst="rect">
            <a:avLst/>
          </a:prstGeom>
        </p:spPr>
        <p:txBody>
          <a:bodyPr anchor="t" anchorCtr="0"/>
          <a:lstStyle>
            <a:lvl1pPr algn="ctr">
              <a:defRPr sz="404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55996" y="5061770"/>
            <a:ext cx="8825659" cy="646390"/>
          </a:xfrm>
        </p:spPr>
        <p:txBody>
          <a:bodyPr anchor="t"/>
          <a:lstStyle>
            <a:lvl1pPr marL="0" indent="0" algn="ctr">
              <a:buNone/>
              <a:defRPr cap="none" baseline="0">
                <a:solidFill>
                  <a:schemeClr val="bg1"/>
                </a:solidFill>
              </a:defRPr>
            </a:lvl1pPr>
            <a:lvl2pPr marL="256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3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0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7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41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0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97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4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693486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FBE9B87-5D1F-E94B-B539-EC11664BD536}"/>
              </a:ext>
            </a:extLst>
          </p:cNvPr>
          <p:cNvSpPr/>
          <p:nvPr/>
        </p:nvSpPr>
        <p:spPr>
          <a:xfrm>
            <a:off x="5737780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292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CA907F-9252-0B49-807C-E526EE694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7" y="480151"/>
            <a:ext cx="416328" cy="52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141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1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5908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1" y="2125983"/>
            <a:ext cx="10363200" cy="144017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2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1184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 spc="169"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938" y="1590679"/>
            <a:ext cx="9660916" cy="4195480"/>
          </a:xfrm>
        </p:spPr>
        <p:txBody>
          <a:bodyPr/>
          <a:lstStyle>
            <a:lvl1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313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8937" y="1603378"/>
            <a:ext cx="4396339" cy="4195763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0117" y="1598894"/>
            <a:ext cx="4396341" cy="4200245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FE8E80-A07B-124F-8B4E-82E6530FB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 spc="169"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928588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8937" y="1591729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8937" y="2201328"/>
            <a:ext cx="4396339" cy="3741738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940121" y="1591729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348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56828" indent="0">
              <a:buNone/>
              <a:defRPr sz="1123" b="1"/>
            </a:lvl2pPr>
            <a:lvl3pPr marL="513657" indent="0">
              <a:buNone/>
              <a:defRPr sz="1011" b="1"/>
            </a:lvl3pPr>
            <a:lvl4pPr marL="770485" indent="0">
              <a:buNone/>
              <a:defRPr sz="899" b="1"/>
            </a:lvl4pPr>
            <a:lvl5pPr marL="1027314" indent="0">
              <a:buNone/>
              <a:defRPr sz="899" b="1"/>
            </a:lvl5pPr>
            <a:lvl6pPr marL="1284142" indent="0">
              <a:buNone/>
              <a:defRPr sz="899" b="1"/>
            </a:lvl6pPr>
            <a:lvl7pPr marL="1540971" indent="0">
              <a:buNone/>
              <a:defRPr sz="899" b="1"/>
            </a:lvl7pPr>
            <a:lvl8pPr marL="1797799" indent="0">
              <a:buNone/>
              <a:defRPr sz="899" b="1"/>
            </a:lvl8pPr>
            <a:lvl9pPr marL="2054627" indent="0">
              <a:buNone/>
              <a:defRPr sz="899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0121" y="2201328"/>
            <a:ext cx="4396339" cy="3741738"/>
          </a:xfrm>
        </p:spPr>
        <p:txBody>
          <a:bodyPr>
            <a:normAutofit/>
          </a:bodyPr>
          <a:lstStyle>
            <a:lvl1pPr>
              <a:defRPr sz="101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786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674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674"/>
            </a:lvl6pPr>
            <a:lvl7pPr>
              <a:defRPr sz="674"/>
            </a:lvl7pPr>
            <a:lvl8pPr>
              <a:defRPr sz="674"/>
            </a:lvl8pPr>
            <a:lvl9pPr>
              <a:defRPr sz="67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995212-60D7-124F-84AF-E046C34359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9864621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9E1E285-0B80-5340-9ABB-2C68583FF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8" y="338422"/>
            <a:ext cx="9660916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921014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3" y="0"/>
            <a:ext cx="12191999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>
              <a:solidFill>
                <a:schemeClr val="accent4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480ECF-DB9F-8D4C-8BFC-CA6818AE3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3926" y="4057652"/>
            <a:ext cx="7534276" cy="109537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926" y="1976723"/>
            <a:ext cx="7534276" cy="1842807"/>
          </a:xfrm>
          <a:prstGeom prst="rect">
            <a:avLst/>
          </a:prstGeom>
        </p:spPr>
        <p:txBody>
          <a:bodyPr/>
          <a:lstStyle>
            <a:lvl1pPr>
              <a:defRPr sz="337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89" y="6010094"/>
            <a:ext cx="416328" cy="52608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772012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l="20715" r="37857"/>
          <a:stretch/>
        </p:blipFill>
        <p:spPr>
          <a:xfrm>
            <a:off x="2" y="0"/>
            <a:ext cx="5050972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2" y="0"/>
            <a:ext cx="5050972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21">
              <a:solidFill>
                <a:schemeClr val="accent4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143" y="1780779"/>
            <a:ext cx="3819688" cy="3096025"/>
          </a:xfrm>
          <a:prstGeom prst="rect">
            <a:avLst/>
          </a:prstGeom>
        </p:spPr>
        <p:txBody>
          <a:bodyPr/>
          <a:lstStyle>
            <a:lvl1pPr>
              <a:defRPr sz="337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89" y="6010094"/>
            <a:ext cx="416328" cy="52608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BEEFB20-F346-D34C-AE92-D02D17441B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20256" y="1780779"/>
            <a:ext cx="3308059" cy="30960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049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3736" y="1209676"/>
            <a:ext cx="3401064" cy="1447800"/>
          </a:xfrm>
          <a:prstGeom prst="rect">
            <a:avLst/>
          </a:prstGeom>
        </p:spPr>
        <p:txBody>
          <a:bodyPr anchor="b"/>
          <a:lstStyle>
            <a:lvl1pPr algn="l">
              <a:defRPr sz="1348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3738" y="2891159"/>
            <a:ext cx="3401063" cy="2895599"/>
          </a:xfrm>
        </p:spPr>
        <p:txBody>
          <a:bodyPr>
            <a:normAutofit/>
          </a:bodyPr>
          <a:lstStyle>
            <a:lvl1pPr marL="0" indent="0">
              <a:buNone/>
              <a:defRPr sz="899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6828" indent="0">
              <a:buNone/>
              <a:defRPr sz="674"/>
            </a:lvl2pPr>
            <a:lvl3pPr marL="513657" indent="0">
              <a:buNone/>
              <a:defRPr sz="562"/>
            </a:lvl3pPr>
            <a:lvl4pPr marL="770485" indent="0">
              <a:buNone/>
              <a:defRPr sz="506"/>
            </a:lvl4pPr>
            <a:lvl5pPr marL="1027314" indent="0">
              <a:buNone/>
              <a:defRPr sz="506"/>
            </a:lvl5pPr>
            <a:lvl6pPr marL="1284142" indent="0">
              <a:buNone/>
              <a:defRPr sz="506"/>
            </a:lvl6pPr>
            <a:lvl7pPr marL="1540971" indent="0">
              <a:buNone/>
              <a:defRPr sz="506"/>
            </a:lvl7pPr>
            <a:lvl8pPr marL="1797799" indent="0">
              <a:buNone/>
              <a:defRPr sz="506"/>
            </a:lvl8pPr>
            <a:lvl9pPr marL="2054627" indent="0">
              <a:buNone/>
              <a:defRPr sz="50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CBE4C0-C38D-A94F-B0EA-B36306C08151}"/>
              </a:ext>
            </a:extLst>
          </p:cNvPr>
          <p:cNvCxnSpPr>
            <a:cxnSpLocks/>
          </p:cNvCxnSpPr>
          <p:nvPr/>
        </p:nvCxnSpPr>
        <p:spPr>
          <a:xfrm>
            <a:off x="4438651" y="1087503"/>
            <a:ext cx="0" cy="4842129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9C3E5EE-E7CA-F846-9999-2A39DDEC2215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4712502" y="1209675"/>
            <a:ext cx="6098373" cy="4577080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899"/>
            </a:lvl1pPr>
            <a:lvl2pPr marL="256828" indent="0">
              <a:buNone/>
              <a:defRPr sz="899"/>
            </a:lvl2pPr>
            <a:lvl3pPr marL="513657" indent="0">
              <a:buNone/>
              <a:defRPr sz="899"/>
            </a:lvl3pPr>
            <a:lvl4pPr marL="770485" indent="0">
              <a:buNone/>
              <a:defRPr sz="899"/>
            </a:lvl4pPr>
            <a:lvl5pPr marL="1027314" indent="0">
              <a:buNone/>
              <a:defRPr sz="899"/>
            </a:lvl5pPr>
            <a:lvl6pPr marL="1284142" indent="0">
              <a:buNone/>
              <a:defRPr sz="899"/>
            </a:lvl6pPr>
            <a:lvl7pPr marL="1540971" indent="0">
              <a:buNone/>
              <a:defRPr sz="899"/>
            </a:lvl7pPr>
            <a:lvl8pPr marL="1797799" indent="0">
              <a:buNone/>
              <a:defRPr sz="899"/>
            </a:lvl8pPr>
            <a:lvl9pPr marL="2054627" indent="0">
              <a:buNone/>
              <a:defRPr sz="8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909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9" y="6096000"/>
            <a:ext cx="993736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0"/>
            <a:ext cx="10885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2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22"/>
            <a:ext cx="8946541" cy="41954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1D9D96-DEE1-8844-9F8C-58215BC7B638}"/>
              </a:ext>
            </a:extLst>
          </p:cNvPr>
          <p:cNvPicPr>
            <a:picLocks noChangeAspect="1"/>
          </p:cNvPicPr>
          <p:nvPr/>
        </p:nvPicPr>
        <p:blipFill>
          <a:blip r:embed="rId26">
            <a:alphaModFix amt="35000"/>
          </a:blip>
          <a:stretch>
            <a:fillRect/>
          </a:stretch>
        </p:blipFill>
        <p:spPr>
          <a:xfrm>
            <a:off x="11277262" y="5861954"/>
            <a:ext cx="473804" cy="598714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C11B457-DE30-F840-909D-BFE9638A9CAE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32632193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C11B457-DE30-F840-909D-BFE9638A9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7023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xStyles>
    <p:titleStyle>
      <a:lvl1pPr algn="l" defTabSz="256828" rtl="0" eaLnBrk="1" latinLnBrk="0" hangingPunct="1">
        <a:spcBef>
          <a:spcPct val="0"/>
        </a:spcBef>
        <a:buNone/>
        <a:defRPr sz="3517" b="0" i="0" kern="1200" spc="169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92621" indent="-192621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3126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marL="417346" indent="-160518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735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2pPr>
      <a:lvl3pPr marL="642071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345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3pPr>
      <a:lvl4pPr marL="898899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954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4pPr>
      <a:lvl5pPr marL="1155727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954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5pPr>
      <a:lvl6pPr marL="1407726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1669384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1926213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2183041" indent="-128414" algn="l" defTabSz="256828" rtl="0" eaLnBrk="1" latinLnBrk="0" hangingPunct="1">
        <a:spcBef>
          <a:spcPts val="562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786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1pPr>
      <a:lvl2pPr marL="256828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2pPr>
      <a:lvl3pPr marL="513657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3pPr>
      <a:lvl4pPr marL="770485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4pPr>
      <a:lvl5pPr marL="1027314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5pPr>
      <a:lvl6pPr marL="1284142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6pPr>
      <a:lvl7pPr marL="1540971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7pPr>
      <a:lvl8pPr marL="1797799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8pPr>
      <a:lvl9pPr marL="2054627" algn="l" defTabSz="256828" rtl="0" eaLnBrk="1" latinLnBrk="0" hangingPunct="1">
        <a:defRPr sz="101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0DE81-63BE-CE4F-9127-AD157A5770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aive Baye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Shape 158"/>
          <p:cNvSpPr/>
          <p:nvPr/>
        </p:nvSpPr>
        <p:spPr>
          <a:xfrm>
            <a:off x="2127817" y="1650857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ediction: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I know your votes, I’m trying to guess your party</a:t>
            </a:r>
          </a:p>
        </p:txBody>
      </p:sp>
      <p:sp>
        <p:nvSpPr>
          <p:cNvPr id="159" name="Shape 159"/>
          <p:cNvSpPr/>
          <p:nvPr/>
        </p:nvSpPr>
        <p:spPr>
          <a:xfrm>
            <a:off x="3946640" y="369649"/>
            <a:ext cx="5518827" cy="9746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>
              <a:lnSpc>
                <a:spcPts val="3800"/>
              </a:lnSpc>
              <a:defRPr sz="3200" spc="-20">
                <a:solidFill>
                  <a:srgbClr val="9BBB59"/>
                </a:solidFill>
              </a:defRPr>
            </a:pPr>
            <a:r>
              <a:rPr sz="3200"/>
              <a:t>3 Featur</a:t>
            </a:r>
            <a:r>
              <a:rPr sz="3200" spc="-15"/>
              <a:t>es:</a:t>
            </a:r>
            <a:r>
              <a:rPr sz="3200" spc="-5"/>
              <a:t> </a:t>
            </a:r>
            <a:r>
              <a:rPr sz="3200" spc="-25">
                <a:solidFill>
                  <a:srgbClr val="4F81BD"/>
                </a:solidFill>
              </a:rPr>
              <a:t>Votes on 3 Bills</a:t>
            </a:r>
          </a:p>
          <a:p>
            <a:pPr marR="5080" indent="12700">
              <a:lnSpc>
                <a:spcPts val="3800"/>
              </a:lnSpc>
              <a:defRPr sz="3200" spc="-20">
                <a:solidFill>
                  <a:srgbClr val="C0504D"/>
                </a:solidFill>
              </a:defRPr>
            </a:pPr>
            <a:r>
              <a:rPr sz="3200"/>
              <a:t>2 Labels</a:t>
            </a:r>
            <a:r>
              <a:rPr sz="3200" spc="-10"/>
              <a:t>:</a:t>
            </a:r>
            <a:r>
              <a:rPr sz="3200"/>
              <a:t> </a:t>
            </a:r>
            <a:r>
              <a:rPr sz="3200">
                <a:solidFill>
                  <a:srgbClr val="4F81BD"/>
                </a:solidFill>
              </a:rPr>
              <a:t>Democrat / Republican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Shape 161"/>
          <p:cNvSpPr/>
          <p:nvPr/>
        </p:nvSpPr>
        <p:spPr>
          <a:xfrm>
            <a:off x="8020232" y="2580544"/>
            <a:ext cx="2546228" cy="14201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r">
              <a:lnSpc>
                <a:spcPts val="3800"/>
              </a:lnSpc>
              <a:defRPr sz="2400" spc="-2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2 Labels</a:t>
            </a:r>
            <a:endParaRPr sz="2400" spc="-10"/>
          </a:p>
          <a:p>
            <a:pPr marR="5080" indent="12700" algn="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</a:t>
            </a:r>
            <a:r>
              <a:rPr sz="2400"/>
              <a:t>: </a:t>
            </a:r>
            <a:r>
              <a:rPr sz="2400">
                <a:solidFill>
                  <a:schemeClr val="accent1"/>
                </a:solidFill>
              </a:rPr>
              <a:t>Democrat</a:t>
            </a:r>
          </a:p>
          <a:p>
            <a:pPr marR="5080" indent="12700" algn="r">
              <a:lnSpc>
                <a:spcPts val="3800"/>
              </a:lnSpc>
              <a:defRPr sz="2400" spc="-10">
                <a:solidFill>
                  <a:srgbClr val="D03643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2</a:t>
            </a:r>
            <a:r>
              <a:rPr sz="2400"/>
              <a:t>: Republican</a:t>
            </a:r>
          </a:p>
        </p:txBody>
      </p:sp>
      <p:sp>
        <p:nvSpPr>
          <p:cNvPr id="162" name="Shape 162"/>
          <p:cNvSpPr/>
          <p:nvPr/>
        </p:nvSpPr>
        <p:spPr>
          <a:xfrm>
            <a:off x="2127817" y="1650857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ediction: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I know your votes, I’m trying to guess your party</a:t>
            </a:r>
          </a:p>
        </p:txBody>
      </p:sp>
      <p:sp>
        <p:nvSpPr>
          <p:cNvPr id="163" name="Shape 163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64" name="Shape 164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65" name="Shape 165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166" name="Shape 166"/>
          <p:cNvSpPr/>
          <p:nvPr/>
        </p:nvSpPr>
        <p:spPr>
          <a:xfrm>
            <a:off x="8980049" y="5591515"/>
            <a:ext cx="442395" cy="90395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7" name="Shape 167"/>
          <p:cNvSpPr/>
          <p:nvPr/>
        </p:nvSpPr>
        <p:spPr>
          <a:xfrm>
            <a:off x="9868514" y="5591514"/>
            <a:ext cx="442395" cy="913664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8" name="Shape 168"/>
          <p:cNvSpPr/>
          <p:nvPr/>
        </p:nvSpPr>
        <p:spPr>
          <a:xfrm>
            <a:off x="8954527" y="55331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  <p:sp>
        <p:nvSpPr>
          <p:cNvPr id="169" name="Shape 169"/>
          <p:cNvSpPr/>
          <p:nvPr/>
        </p:nvSpPr>
        <p:spPr>
          <a:xfrm>
            <a:off x="9822229" y="5524916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  <p:sp>
        <p:nvSpPr>
          <p:cNvPr id="170" name="Shape 170"/>
          <p:cNvSpPr/>
          <p:nvPr/>
        </p:nvSpPr>
        <p:spPr>
          <a:xfrm>
            <a:off x="3946640" y="369649"/>
            <a:ext cx="5518827" cy="9746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>
              <a:lnSpc>
                <a:spcPts val="3800"/>
              </a:lnSpc>
              <a:defRPr sz="3200" spc="-20">
                <a:solidFill>
                  <a:srgbClr val="9BBB59"/>
                </a:solidFill>
              </a:defRPr>
            </a:pPr>
            <a:r>
              <a:rPr sz="3200"/>
              <a:t>3 Featur</a:t>
            </a:r>
            <a:r>
              <a:rPr sz="3200" spc="-15"/>
              <a:t>es:</a:t>
            </a:r>
            <a:r>
              <a:rPr sz="3200" spc="-5"/>
              <a:t> </a:t>
            </a:r>
            <a:r>
              <a:rPr sz="3200" spc="-25">
                <a:solidFill>
                  <a:srgbClr val="4F81BD"/>
                </a:solidFill>
              </a:rPr>
              <a:t>Votes on 3 Bills</a:t>
            </a:r>
          </a:p>
          <a:p>
            <a:pPr marR="5080" indent="12700">
              <a:lnSpc>
                <a:spcPts val="3800"/>
              </a:lnSpc>
              <a:defRPr sz="3200" spc="-20">
                <a:solidFill>
                  <a:srgbClr val="C0504D"/>
                </a:solidFill>
              </a:defRPr>
            </a:pPr>
            <a:r>
              <a:rPr sz="3200"/>
              <a:t>2 Labels</a:t>
            </a:r>
            <a:r>
              <a:rPr sz="3200" spc="-10"/>
              <a:t>:</a:t>
            </a:r>
            <a:r>
              <a:rPr sz="3200"/>
              <a:t> </a:t>
            </a:r>
            <a:r>
              <a:rPr sz="3200">
                <a:solidFill>
                  <a:srgbClr val="4F81BD"/>
                </a:solidFill>
              </a:rPr>
              <a:t>Democrat / Republican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Shape 172"/>
          <p:cNvSpPr/>
          <p:nvPr/>
        </p:nvSpPr>
        <p:spPr>
          <a:xfrm>
            <a:off x="2084022" y="439126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Prior: Initial belief</a:t>
            </a:r>
          </a:p>
        </p:txBody>
      </p:sp>
      <p:sp>
        <p:nvSpPr>
          <p:cNvPr id="173" name="Shape 173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74" name="Shape 174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75" name="Shape 175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176" name="Shape 176"/>
          <p:cNvSpPr/>
          <p:nvPr/>
        </p:nvSpPr>
        <p:spPr>
          <a:xfrm>
            <a:off x="8980049" y="5591515"/>
            <a:ext cx="442395" cy="90395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7" name="Shape 177"/>
          <p:cNvSpPr/>
          <p:nvPr/>
        </p:nvSpPr>
        <p:spPr>
          <a:xfrm>
            <a:off x="9868514" y="5591514"/>
            <a:ext cx="442395" cy="913664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8" name="Shape 178"/>
          <p:cNvSpPr/>
          <p:nvPr/>
        </p:nvSpPr>
        <p:spPr>
          <a:xfrm>
            <a:off x="8954527" y="55331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  <p:sp>
        <p:nvSpPr>
          <p:cNvPr id="179" name="Shape 179"/>
          <p:cNvSpPr/>
          <p:nvPr/>
        </p:nvSpPr>
        <p:spPr>
          <a:xfrm>
            <a:off x="9822229" y="5524916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Shape 181"/>
          <p:cNvSpPr/>
          <p:nvPr/>
        </p:nvSpPr>
        <p:spPr>
          <a:xfrm>
            <a:off x="2081784" y="438913"/>
            <a:ext cx="7963453" cy="1508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808080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50 - 50 ?   </a:t>
            </a: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ocrat</a:t>
            </a:r>
            <a:r>
              <a:rPr sz="2200"/>
              <a:t>) = 0.5  ?</a:t>
            </a:r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A6A6A6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(Uninformative prior)</a:t>
            </a:r>
          </a:p>
        </p:txBody>
      </p:sp>
      <p:sp>
        <p:nvSpPr>
          <p:cNvPr id="182" name="Shape 182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83" name="Shape 183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84" name="Shape 184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185" name="Shape 185"/>
          <p:cNvSpPr/>
          <p:nvPr/>
        </p:nvSpPr>
        <p:spPr>
          <a:xfrm>
            <a:off x="8980049" y="5591515"/>
            <a:ext cx="442395" cy="90395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6" name="Shape 186"/>
          <p:cNvSpPr/>
          <p:nvPr/>
        </p:nvSpPr>
        <p:spPr>
          <a:xfrm>
            <a:off x="9868514" y="5591514"/>
            <a:ext cx="442395" cy="913664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7" name="Shape 187"/>
          <p:cNvSpPr/>
          <p:nvPr/>
        </p:nvSpPr>
        <p:spPr>
          <a:xfrm>
            <a:off x="8954527" y="55331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  <p:sp>
        <p:nvSpPr>
          <p:cNvPr id="188" name="Shape 188"/>
          <p:cNvSpPr/>
          <p:nvPr/>
        </p:nvSpPr>
        <p:spPr>
          <a:xfrm>
            <a:off x="9822229" y="5524916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Shape 190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808080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What’s my best guess without any vote info?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191" name="Shape 191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92" name="Shape 192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93" name="Shape 193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194" name="Shape 194"/>
          <p:cNvSpPr/>
          <p:nvPr/>
        </p:nvSpPr>
        <p:spPr>
          <a:xfrm>
            <a:off x="8980049" y="5591515"/>
            <a:ext cx="442395" cy="90395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95" name="Shape 195"/>
          <p:cNvSpPr/>
          <p:nvPr/>
        </p:nvSpPr>
        <p:spPr>
          <a:xfrm>
            <a:off x="9868514" y="5591514"/>
            <a:ext cx="442395" cy="913664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96" name="Shape 196"/>
          <p:cNvSpPr/>
          <p:nvPr/>
        </p:nvSpPr>
        <p:spPr>
          <a:xfrm>
            <a:off x="8954527" y="55331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  <p:sp>
        <p:nvSpPr>
          <p:cNvPr id="197" name="Shape 197"/>
          <p:cNvSpPr/>
          <p:nvPr/>
        </p:nvSpPr>
        <p:spPr>
          <a:xfrm>
            <a:off x="9822229" y="5524916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Shape 199"/>
          <p:cNvSpPr/>
          <p:nvPr/>
        </p:nvSpPr>
        <p:spPr>
          <a:xfrm>
            <a:off x="2081784" y="438913"/>
            <a:ext cx="7963453" cy="1538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808080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A6A6A6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What’s my best guess without any vote info?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 I’d guess </a:t>
            </a:r>
            <a:r>
              <a:rPr sz="2400">
                <a:solidFill>
                  <a:schemeClr val="accent1"/>
                </a:solidFill>
              </a:rPr>
              <a:t>democrat </a:t>
            </a:r>
            <a:r>
              <a:rPr sz="2400"/>
              <a:t>since there are more of them.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200" name="Shape 200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01" name="Shape 201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02" name="Shape 202"/>
          <p:cNvSpPr/>
          <p:nvPr/>
        </p:nvSpPr>
        <p:spPr>
          <a:xfrm>
            <a:off x="8980049" y="5591515"/>
            <a:ext cx="442395" cy="90395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03" name="Shape 203"/>
          <p:cNvSpPr/>
          <p:nvPr/>
        </p:nvSpPr>
        <p:spPr>
          <a:xfrm>
            <a:off x="9868514" y="5591514"/>
            <a:ext cx="442395" cy="913664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04" name="Shape 204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pic>
        <p:nvPicPr>
          <p:cNvPr id="205" name="image6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910056" y="4000500"/>
            <a:ext cx="5715001" cy="2857500"/>
          </a:xfrm>
          <a:prstGeom prst="rect">
            <a:avLst/>
          </a:prstGeom>
          <a:ln w="12700">
            <a:miter lim="400000"/>
          </a:ln>
        </p:spPr>
      </p:pic>
      <p:sp>
        <p:nvSpPr>
          <p:cNvPr id="206" name="Shape 206"/>
          <p:cNvSpPr/>
          <p:nvPr/>
        </p:nvSpPr>
        <p:spPr>
          <a:xfrm>
            <a:off x="8954527" y="55331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  <p:sp>
        <p:nvSpPr>
          <p:cNvPr id="207" name="Shape 207"/>
          <p:cNvSpPr/>
          <p:nvPr/>
        </p:nvSpPr>
        <p:spPr>
          <a:xfrm>
            <a:off x="9822229" y="5524916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Shape 209"/>
          <p:cNvSpPr/>
          <p:nvPr/>
        </p:nvSpPr>
        <p:spPr>
          <a:xfrm>
            <a:off x="2081784" y="438913"/>
            <a:ext cx="7963453" cy="1908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A6A6A6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What’s my best guess without any vote info?</a:t>
            </a:r>
          </a:p>
          <a:p>
            <a:pPr>
              <a:defRPr sz="2400">
                <a:solidFill>
                  <a:srgbClr val="A6A6A6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 I’d guess democrat since there are more of them.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210" name="Shape 210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11" name="Shape 211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12" name="Shape 212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3" name="Shape 213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4" name="Shape 214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pic>
        <p:nvPicPr>
          <p:cNvPr id="215" name="image6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910056" y="4000500"/>
            <a:ext cx="5715001" cy="2857500"/>
          </a:xfrm>
          <a:prstGeom prst="rect">
            <a:avLst/>
          </a:prstGeom>
          <a:ln w="12700">
            <a:miter lim="400000"/>
          </a:ln>
        </p:spPr>
      </p:pic>
      <p:sp>
        <p:nvSpPr>
          <p:cNvPr id="216" name="Shape 216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217" name="Shape 217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Shape 219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220" name="Shape 220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21" name="Shape 221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22" name="Shape 222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3" name="Shape 223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4" name="Shape 224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225" name="Shape 225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226" name="Shape 226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Shape 228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29" name="Shape 229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30" name="Shape 230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1" name="Shape 231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2" name="Shape 232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233" name="Shape 233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234" name="Shape 234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235" name="Shape 235"/>
          <p:cNvSpPr/>
          <p:nvPr/>
        </p:nvSpPr>
        <p:spPr>
          <a:xfrm>
            <a:off x="2137130" y="1532943"/>
            <a:ext cx="5810119" cy="14465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1)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Net Neutrality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236" name="Shape 236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Shape 238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39" name="Shape 239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40" name="Shape 240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1" name="Shape 241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2" name="Shape 242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243" name="Shape 243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244" name="Shape 244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245" name="Shape 245"/>
          <p:cNvSpPr/>
          <p:nvPr/>
        </p:nvSpPr>
        <p:spPr>
          <a:xfrm>
            <a:off x="2137130" y="1532944"/>
            <a:ext cx="5810119" cy="31393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1)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Net Neutrality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246" name="Shape 246"/>
          <p:cNvSpPr/>
          <p:nvPr/>
        </p:nvSpPr>
        <p:spPr>
          <a:xfrm>
            <a:off x="3845120" y="3810394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47" name="Shape 247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Shape 115"/>
          <p:cNvSpPr/>
          <p:nvPr/>
        </p:nvSpPr>
        <p:spPr>
          <a:xfrm>
            <a:off x="1981516" y="556709"/>
            <a:ext cx="5550798" cy="25545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3200">
                <a:solidFill>
                  <a:schemeClr val="accent1"/>
                </a:solidFill>
              </a:defRPr>
            </a:pPr>
            <a:r>
              <a:rPr sz="3200"/>
              <a:t>Updating the state of knowledge</a:t>
            </a:r>
          </a:p>
          <a:p>
            <a:pPr algn="ctr">
              <a:defRPr sz="3200">
                <a:solidFill>
                  <a:schemeClr val="accent1"/>
                </a:solidFill>
              </a:defRPr>
            </a:pPr>
            <a:endParaRPr sz="3200"/>
          </a:p>
          <a:p>
            <a:pPr algn="ctr">
              <a:defRPr sz="3200">
                <a:solidFill>
                  <a:schemeClr val="accent6"/>
                </a:solidFill>
              </a:defRPr>
            </a:pPr>
            <a:r>
              <a:rPr sz="3200"/>
              <a:t>step by step</a:t>
            </a:r>
          </a:p>
          <a:p>
            <a:pPr algn="ctr">
              <a:defRPr sz="3200">
                <a:solidFill>
                  <a:schemeClr val="accent1"/>
                </a:solidFill>
              </a:defRPr>
            </a:pPr>
            <a:endParaRPr sz="3200"/>
          </a:p>
          <a:p>
            <a:pPr algn="ctr">
              <a:defRPr sz="3200">
                <a:solidFill>
                  <a:schemeClr val="accent2"/>
                </a:solidFill>
              </a:defRPr>
            </a:pPr>
            <a:r>
              <a:rPr sz="3200"/>
              <a:t>with new information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Shape 249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50" name="Shape 250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51" name="Shape 251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52" name="Shape 252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53" name="Shape 253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254" name="Shape 254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255" name="Shape 255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256" name="Shape 256"/>
          <p:cNvSpPr/>
          <p:nvPr/>
        </p:nvSpPr>
        <p:spPr>
          <a:xfrm>
            <a:off x="2137130" y="1532944"/>
            <a:ext cx="5810119" cy="31393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1)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Net Neutrality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257" name="Shape 257"/>
          <p:cNvSpPr/>
          <p:nvPr/>
        </p:nvSpPr>
        <p:spPr>
          <a:xfrm>
            <a:off x="3845120" y="3810394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58" name="Shape 258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259" name="Shape 259"/>
          <p:cNvSpPr/>
          <p:nvPr/>
        </p:nvSpPr>
        <p:spPr>
          <a:xfrm>
            <a:off x="5319555" y="2934450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260" name="Shape 260"/>
          <p:cNvSpPr/>
          <p:nvPr/>
        </p:nvSpPr>
        <p:spPr>
          <a:xfrm>
            <a:off x="2458288" y="3232843"/>
            <a:ext cx="1086692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261" name="Shape 261"/>
          <p:cNvSpPr/>
          <p:nvPr/>
        </p:nvSpPr>
        <p:spPr>
          <a:xfrm>
            <a:off x="4005704" y="292625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262" name="Shape 262"/>
          <p:cNvSpPr/>
          <p:nvPr/>
        </p:nvSpPr>
        <p:spPr>
          <a:xfrm>
            <a:off x="3129814" y="4202804"/>
            <a:ext cx="351818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BFBFBF"/>
                </a:solidFill>
              </a:defRPr>
            </a:pPr>
            <a:r>
              <a:t>evidence</a:t>
            </a:r>
          </a:p>
          <a:p>
            <a:pPr algn="ctr">
              <a:defRPr>
                <a:solidFill>
                  <a:srgbClr val="BFBFBF"/>
                </a:solidFill>
              </a:defRPr>
            </a:pPr>
            <a:r>
              <a:t>(normalization factor)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Shape 264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65" name="Shape 265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66" name="Shape 266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67" name="Shape 267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68" name="Shape 268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269" name="Shape 269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270" name="Shape 270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271" name="Shape 271"/>
          <p:cNvSpPr/>
          <p:nvPr/>
        </p:nvSpPr>
        <p:spPr>
          <a:xfrm>
            <a:off x="2137130" y="1532944"/>
            <a:ext cx="5810119" cy="31393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1)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Net Neutrality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272" name="Shape 272"/>
          <p:cNvSpPr/>
          <p:nvPr/>
        </p:nvSpPr>
        <p:spPr>
          <a:xfrm>
            <a:off x="3845120" y="3810394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73" name="Shape 273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274" name="Shape 274"/>
          <p:cNvSpPr/>
          <p:nvPr/>
        </p:nvSpPr>
        <p:spPr>
          <a:xfrm>
            <a:off x="5319555" y="2934450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275" name="Shape 275"/>
          <p:cNvSpPr/>
          <p:nvPr/>
        </p:nvSpPr>
        <p:spPr>
          <a:xfrm>
            <a:off x="2458288" y="3232843"/>
            <a:ext cx="1086692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276" name="Shape 276"/>
          <p:cNvSpPr/>
          <p:nvPr/>
        </p:nvSpPr>
        <p:spPr>
          <a:xfrm>
            <a:off x="4005704" y="292625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277" name="Shape 277"/>
          <p:cNvSpPr/>
          <p:nvPr/>
        </p:nvSpPr>
        <p:spPr>
          <a:xfrm>
            <a:off x="3129814" y="4202804"/>
            <a:ext cx="351818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BFBFBF"/>
                </a:solidFill>
              </a:defRPr>
            </a:pPr>
            <a:r>
              <a:t>evidence</a:t>
            </a:r>
          </a:p>
          <a:p>
            <a:pPr algn="ctr">
              <a:defRPr>
                <a:solidFill>
                  <a:srgbClr val="BFBFBF"/>
                </a:solidFill>
              </a:defRPr>
            </a:pPr>
            <a:r>
              <a:t>(normalization factor)</a:t>
            </a:r>
          </a:p>
        </p:txBody>
      </p:sp>
      <p:sp>
        <p:nvSpPr>
          <p:cNvPr id="278" name="Shape 278"/>
          <p:cNvSpPr/>
          <p:nvPr/>
        </p:nvSpPr>
        <p:spPr>
          <a:xfrm>
            <a:off x="7538497" y="1094942"/>
            <a:ext cx="2905055" cy="17561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Prob. of voting yes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on net neutrality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if you’re democrat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Shape 280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81" name="Shape 281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82" name="Shape 282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83" name="Shape 283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84" name="Shape 284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285" name="Shape 285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286" name="Shape 286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287" name="Shape 287"/>
          <p:cNvSpPr/>
          <p:nvPr/>
        </p:nvSpPr>
        <p:spPr>
          <a:xfrm>
            <a:off x="2137130" y="1532945"/>
            <a:ext cx="58101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1)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Net Neutrality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288" name="Shape 288"/>
          <p:cNvSpPr/>
          <p:nvPr/>
        </p:nvSpPr>
        <p:spPr>
          <a:xfrm>
            <a:off x="3845120" y="3810394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89" name="Shape 289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290" name="Shape 290"/>
          <p:cNvSpPr/>
          <p:nvPr/>
        </p:nvSpPr>
        <p:spPr>
          <a:xfrm>
            <a:off x="5319555" y="2934450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291" name="Shape 291"/>
          <p:cNvSpPr/>
          <p:nvPr/>
        </p:nvSpPr>
        <p:spPr>
          <a:xfrm>
            <a:off x="2458288" y="3232843"/>
            <a:ext cx="1086692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292" name="Shape 292"/>
          <p:cNvSpPr/>
          <p:nvPr/>
        </p:nvSpPr>
        <p:spPr>
          <a:xfrm>
            <a:off x="4005704" y="292625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293" name="Shape 293"/>
          <p:cNvSpPr/>
          <p:nvPr/>
        </p:nvSpPr>
        <p:spPr>
          <a:xfrm>
            <a:off x="3129814" y="4202804"/>
            <a:ext cx="351818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BFBFBF"/>
                </a:solidFill>
              </a:defRPr>
            </a:pPr>
            <a:r>
              <a:t>evidence</a:t>
            </a:r>
          </a:p>
          <a:p>
            <a:pPr algn="ctr">
              <a:defRPr>
                <a:solidFill>
                  <a:srgbClr val="BFBFBF"/>
                </a:solidFill>
              </a:defRPr>
            </a:pPr>
            <a:r>
              <a:t>(normalization factor)</a:t>
            </a:r>
          </a:p>
        </p:txBody>
      </p:sp>
      <p:sp>
        <p:nvSpPr>
          <p:cNvPr id="294" name="Shape 294"/>
          <p:cNvSpPr/>
          <p:nvPr/>
        </p:nvSpPr>
        <p:spPr>
          <a:xfrm>
            <a:off x="7538497" y="1094942"/>
            <a:ext cx="2905055" cy="17561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Prob. of voting yes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on net neutrality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if you’re democrat</a:t>
            </a:r>
          </a:p>
        </p:txBody>
      </p:sp>
      <p:sp>
        <p:nvSpPr>
          <p:cNvPr id="295" name="Shape 295"/>
          <p:cNvSpPr/>
          <p:nvPr/>
        </p:nvSpPr>
        <p:spPr>
          <a:xfrm>
            <a:off x="3822340" y="6152682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Shape 297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98" name="Shape 298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99" name="Shape 299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00" name="Shape 300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01" name="Shape 301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302" name="Shape 302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303" name="Shape 303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304" name="Shape 304"/>
          <p:cNvSpPr/>
          <p:nvPr/>
        </p:nvSpPr>
        <p:spPr>
          <a:xfrm>
            <a:off x="2137130" y="1532945"/>
            <a:ext cx="58101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1)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Net Neutrality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305" name="Shape 305"/>
          <p:cNvSpPr/>
          <p:nvPr/>
        </p:nvSpPr>
        <p:spPr>
          <a:xfrm>
            <a:off x="3845120" y="3810394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06" name="Shape 306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307" name="Shape 307"/>
          <p:cNvSpPr/>
          <p:nvPr/>
        </p:nvSpPr>
        <p:spPr>
          <a:xfrm>
            <a:off x="5319555" y="2934450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308" name="Shape 308"/>
          <p:cNvSpPr/>
          <p:nvPr/>
        </p:nvSpPr>
        <p:spPr>
          <a:xfrm>
            <a:off x="2458288" y="3232843"/>
            <a:ext cx="1086692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309" name="Shape 309"/>
          <p:cNvSpPr/>
          <p:nvPr/>
        </p:nvSpPr>
        <p:spPr>
          <a:xfrm>
            <a:off x="4005704" y="292625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310" name="Shape 310"/>
          <p:cNvSpPr/>
          <p:nvPr/>
        </p:nvSpPr>
        <p:spPr>
          <a:xfrm>
            <a:off x="3129814" y="4202804"/>
            <a:ext cx="351818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BFBFBF"/>
                </a:solidFill>
              </a:defRPr>
            </a:pPr>
            <a:r>
              <a:t>evidence</a:t>
            </a:r>
          </a:p>
          <a:p>
            <a:pPr algn="ctr">
              <a:defRPr>
                <a:solidFill>
                  <a:srgbClr val="BFBFBF"/>
                </a:solidFill>
              </a:defRPr>
            </a:pPr>
            <a:r>
              <a:t>(normalization factor)</a:t>
            </a:r>
          </a:p>
        </p:txBody>
      </p:sp>
      <p:sp>
        <p:nvSpPr>
          <p:cNvPr id="311" name="Shape 311"/>
          <p:cNvSpPr/>
          <p:nvPr/>
        </p:nvSpPr>
        <p:spPr>
          <a:xfrm>
            <a:off x="7538497" y="1094942"/>
            <a:ext cx="2905055" cy="17561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Prob. of voting yes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on net neutrality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if you’re democrat</a:t>
            </a:r>
          </a:p>
        </p:txBody>
      </p:sp>
      <p:sp>
        <p:nvSpPr>
          <p:cNvPr id="312" name="Shape 312"/>
          <p:cNvSpPr/>
          <p:nvPr/>
        </p:nvSpPr>
        <p:spPr>
          <a:xfrm>
            <a:off x="3822340" y="6152682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13" name="Shape 313"/>
          <p:cNvSpPr/>
          <p:nvPr/>
        </p:nvSpPr>
        <p:spPr>
          <a:xfrm>
            <a:off x="7530320" y="3656177"/>
            <a:ext cx="2905055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rgbClr val="D03643"/>
                </a:solidFill>
              </a:rPr>
              <a:t>Rep</a:t>
            </a:r>
            <a:r>
              <a:rPr sz="3200"/>
              <a:t>)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Shape 315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16" name="Shape 316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17" name="Shape 317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18" name="Shape 318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19" name="Shape 319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320" name="Shape 320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321" name="Shape 321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322" name="Shape 322"/>
          <p:cNvSpPr/>
          <p:nvPr/>
        </p:nvSpPr>
        <p:spPr>
          <a:xfrm>
            <a:off x="1918153" y="1868707"/>
            <a:ext cx="2905056" cy="17561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Prob. of voting yes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on net neutrality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if you’re democrat</a:t>
            </a:r>
          </a:p>
        </p:txBody>
      </p:sp>
      <p:sp>
        <p:nvSpPr>
          <p:cNvPr id="323" name="Shape 323"/>
          <p:cNvSpPr/>
          <p:nvPr/>
        </p:nvSpPr>
        <p:spPr>
          <a:xfrm>
            <a:off x="5720127" y="1865377"/>
            <a:ext cx="2577474" cy="16927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rgbClr val="D03643"/>
                </a:solidFill>
              </a:rPr>
              <a:t>Rep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Prob. of voting yes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on net neutrality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if you’re republican</a:t>
            </a:r>
          </a:p>
        </p:txBody>
      </p:sp>
      <p:sp>
        <p:nvSpPr>
          <p:cNvPr id="324" name="Shape 324"/>
          <p:cNvSpPr/>
          <p:nvPr/>
        </p:nvSpPr>
        <p:spPr>
          <a:xfrm flipH="1">
            <a:off x="4998393" y="1459924"/>
            <a:ext cx="1" cy="2481876"/>
          </a:xfrm>
          <a:prstGeom prst="line">
            <a:avLst/>
          </a:prstGeom>
          <a:ln w="12700">
            <a:solidFill>
              <a:srgbClr val="BFBFBF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Shape 326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27" name="Shape 327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28" name="Shape 328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29" name="Shape 329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30" name="Shape 330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331" name="Shape 331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332" name="Shape 332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333" name="Shape 333"/>
          <p:cNvSpPr/>
          <p:nvPr/>
        </p:nvSpPr>
        <p:spPr>
          <a:xfrm>
            <a:off x="2081784" y="438913"/>
            <a:ext cx="796345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chemeClr val="accent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Training set </a:t>
            </a:r>
            <a:r>
              <a:rPr sz="2200">
                <a:solidFill>
                  <a:srgbClr val="595959"/>
                </a:solidFill>
              </a:rPr>
              <a:t>has the answers!</a:t>
            </a:r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We know 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/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 for each person, we know their votes! </a:t>
            </a:r>
          </a:p>
        </p:txBody>
      </p:sp>
      <p:sp>
        <p:nvSpPr>
          <p:cNvPr id="334" name="Shape 334"/>
          <p:cNvSpPr/>
          <p:nvPr/>
        </p:nvSpPr>
        <p:spPr>
          <a:xfrm>
            <a:off x="1918153" y="1868707"/>
            <a:ext cx="2905056" cy="17561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Prob. of voting yes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on net neutrality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if you’re democrat</a:t>
            </a:r>
          </a:p>
        </p:txBody>
      </p:sp>
      <p:sp>
        <p:nvSpPr>
          <p:cNvPr id="335" name="Shape 335"/>
          <p:cNvSpPr/>
          <p:nvPr/>
        </p:nvSpPr>
        <p:spPr>
          <a:xfrm>
            <a:off x="5720127" y="1865377"/>
            <a:ext cx="2577474" cy="16927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rgbClr val="D03643"/>
                </a:solidFill>
              </a:rPr>
              <a:t>Rep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Prob. of voting yes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on net neutrality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if you’re republican</a:t>
            </a:r>
          </a:p>
        </p:txBody>
      </p:sp>
      <p:sp>
        <p:nvSpPr>
          <p:cNvPr id="336" name="Shape 336"/>
          <p:cNvSpPr/>
          <p:nvPr/>
        </p:nvSpPr>
        <p:spPr>
          <a:xfrm flipH="1">
            <a:off x="4998393" y="1459924"/>
            <a:ext cx="1" cy="2481876"/>
          </a:xfrm>
          <a:prstGeom prst="line">
            <a:avLst/>
          </a:prstGeom>
          <a:ln w="12700">
            <a:solidFill>
              <a:srgbClr val="BFBFBF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Shape 338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39" name="Shape 339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40" name="Shape 340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41" name="Shape 341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42" name="Shape 342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343" name="Shape 343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344" name="Shape 344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345" name="Shape 345"/>
          <p:cNvSpPr/>
          <p:nvPr/>
        </p:nvSpPr>
        <p:spPr>
          <a:xfrm>
            <a:off x="2081784" y="438913"/>
            <a:ext cx="796345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chemeClr val="accent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Training set </a:t>
            </a:r>
            <a:r>
              <a:rPr sz="2200">
                <a:solidFill>
                  <a:srgbClr val="595959"/>
                </a:solidFill>
              </a:rPr>
              <a:t>has the answers!</a:t>
            </a:r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We know 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/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 for each person, we know their votes! </a:t>
            </a:r>
          </a:p>
        </p:txBody>
      </p:sp>
      <p:sp>
        <p:nvSpPr>
          <p:cNvPr id="346" name="Shape 346"/>
          <p:cNvSpPr/>
          <p:nvPr/>
        </p:nvSpPr>
        <p:spPr>
          <a:xfrm>
            <a:off x="1918153" y="1868707"/>
            <a:ext cx="3138633" cy="2431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# democrats that Y</a:t>
            </a:r>
            <a:r>
              <a:rPr sz="2400" baseline="-25000"/>
              <a:t>NN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 # all democrats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</p:txBody>
      </p:sp>
      <p:sp>
        <p:nvSpPr>
          <p:cNvPr id="347" name="Shape 347"/>
          <p:cNvSpPr/>
          <p:nvPr/>
        </p:nvSpPr>
        <p:spPr>
          <a:xfrm>
            <a:off x="5720128" y="1865376"/>
            <a:ext cx="3205203" cy="28007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rgbClr val="D03643"/>
                </a:solidFill>
              </a:rPr>
              <a:t>Rep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# republicans that Y</a:t>
            </a:r>
            <a:r>
              <a:rPr sz="2400" baseline="-25000"/>
              <a:t>NN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 # all republicans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</p:txBody>
      </p:sp>
      <p:sp>
        <p:nvSpPr>
          <p:cNvPr id="348" name="Shape 348"/>
          <p:cNvSpPr/>
          <p:nvPr/>
        </p:nvSpPr>
        <p:spPr>
          <a:xfrm>
            <a:off x="2224711" y="3372417"/>
            <a:ext cx="2671494" cy="2921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49" name="Shape 349"/>
          <p:cNvSpPr/>
          <p:nvPr/>
        </p:nvSpPr>
        <p:spPr>
          <a:xfrm>
            <a:off x="6026683" y="3378825"/>
            <a:ext cx="2671493" cy="2921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50" name="Shape 350"/>
          <p:cNvSpPr/>
          <p:nvPr/>
        </p:nvSpPr>
        <p:spPr>
          <a:xfrm flipH="1">
            <a:off x="4998393" y="1459924"/>
            <a:ext cx="1" cy="2481876"/>
          </a:xfrm>
          <a:prstGeom prst="line">
            <a:avLst/>
          </a:prstGeom>
          <a:ln w="12700">
            <a:solidFill>
              <a:srgbClr val="BFBFBF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Shape 352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53" name="Shape 353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54" name="Shape 354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55" name="Shape 355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56" name="Shape 356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357" name="Shape 357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358" name="Shape 358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359" name="Shape 359"/>
          <p:cNvSpPr/>
          <p:nvPr/>
        </p:nvSpPr>
        <p:spPr>
          <a:xfrm>
            <a:off x="2081784" y="438913"/>
            <a:ext cx="796345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chemeClr val="accent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Training set </a:t>
            </a:r>
            <a:r>
              <a:rPr sz="2200">
                <a:solidFill>
                  <a:srgbClr val="595959"/>
                </a:solidFill>
              </a:rPr>
              <a:t>has the answers!</a:t>
            </a:r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We know 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/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 for each person, we know their votes! </a:t>
            </a:r>
          </a:p>
        </p:txBody>
      </p:sp>
      <p:sp>
        <p:nvSpPr>
          <p:cNvPr id="360" name="Shape 360"/>
          <p:cNvSpPr/>
          <p:nvPr/>
        </p:nvSpPr>
        <p:spPr>
          <a:xfrm>
            <a:off x="1918153" y="1868707"/>
            <a:ext cx="3138633" cy="2431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# democrats that Y</a:t>
            </a:r>
            <a:r>
              <a:rPr sz="2400" baseline="-25000"/>
              <a:t>NN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 # all democrats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</p:txBody>
      </p:sp>
      <p:sp>
        <p:nvSpPr>
          <p:cNvPr id="361" name="Shape 361"/>
          <p:cNvSpPr/>
          <p:nvPr/>
        </p:nvSpPr>
        <p:spPr>
          <a:xfrm>
            <a:off x="5720128" y="1865376"/>
            <a:ext cx="3205203" cy="28007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rgbClr val="D03643"/>
                </a:solidFill>
              </a:rPr>
              <a:t>Rep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# republicans that Y</a:t>
            </a:r>
            <a:r>
              <a:rPr sz="2400" baseline="-25000"/>
              <a:t>NN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 # all republicans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</p:txBody>
      </p:sp>
      <p:sp>
        <p:nvSpPr>
          <p:cNvPr id="362" name="Shape 362"/>
          <p:cNvSpPr/>
          <p:nvPr/>
        </p:nvSpPr>
        <p:spPr>
          <a:xfrm>
            <a:off x="2224711" y="3372417"/>
            <a:ext cx="2671494" cy="2921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63" name="Shape 363"/>
          <p:cNvSpPr/>
          <p:nvPr/>
        </p:nvSpPr>
        <p:spPr>
          <a:xfrm>
            <a:off x="6026683" y="3378825"/>
            <a:ext cx="2671493" cy="2921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64" name="Shape 364"/>
          <p:cNvSpPr/>
          <p:nvPr/>
        </p:nvSpPr>
        <p:spPr>
          <a:xfrm flipH="1">
            <a:off x="4998393" y="1459924"/>
            <a:ext cx="1" cy="2481876"/>
          </a:xfrm>
          <a:prstGeom prst="line">
            <a:avLst/>
          </a:prstGeom>
          <a:ln w="12700">
            <a:solidFill>
              <a:srgbClr val="BFBFBF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65" name="Shape 365"/>
          <p:cNvSpPr/>
          <p:nvPr/>
        </p:nvSpPr>
        <p:spPr>
          <a:xfrm>
            <a:off x="1825432" y="4898092"/>
            <a:ext cx="7963453" cy="11079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chemeClr val="accent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For likelihoods of discrete data,</a:t>
            </a:r>
          </a:p>
          <a:p>
            <a:pPr>
              <a:defRPr sz="2200">
                <a:solidFill>
                  <a:schemeClr val="accent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training/fitting means counting!</a:t>
            </a:r>
          </a:p>
          <a:p>
            <a:pPr>
              <a:defRPr sz="2200">
                <a:solidFill>
                  <a:srgbClr val="808080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(and estimating likelihoods by dividing counts)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Shape 367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68" name="Shape 368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69" name="Shape 369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70" name="Shape 370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71" name="Shape 371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372" name="Shape 372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373" name="Shape 373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374" name="Shape 374"/>
          <p:cNvSpPr/>
          <p:nvPr/>
        </p:nvSpPr>
        <p:spPr>
          <a:xfrm>
            <a:off x="2081784" y="438913"/>
            <a:ext cx="796345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chemeClr val="accent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Training set </a:t>
            </a:r>
            <a:r>
              <a:rPr sz="2200">
                <a:solidFill>
                  <a:srgbClr val="595959"/>
                </a:solidFill>
              </a:rPr>
              <a:t>has the answers!</a:t>
            </a:r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We know 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/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 for each person, we know their votes! </a:t>
            </a:r>
          </a:p>
        </p:txBody>
      </p:sp>
      <p:sp>
        <p:nvSpPr>
          <p:cNvPr id="375" name="Shape 375"/>
          <p:cNvSpPr/>
          <p:nvPr/>
        </p:nvSpPr>
        <p:spPr>
          <a:xfrm>
            <a:off x="1918153" y="1868707"/>
            <a:ext cx="3138633" cy="2480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chemeClr val="accent6"/>
                </a:solidFill>
              </a:rPr>
              <a:t>56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            = 0.949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chemeClr val="accent1"/>
                </a:solidFill>
              </a:rPr>
              <a:t>59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</p:txBody>
      </p:sp>
      <p:sp>
        <p:nvSpPr>
          <p:cNvPr id="376" name="Shape 376"/>
          <p:cNvSpPr/>
          <p:nvPr/>
        </p:nvSpPr>
        <p:spPr>
          <a:xfrm>
            <a:off x="5720128" y="1865376"/>
            <a:ext cx="3205203" cy="28007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6"/>
                </a:solidFill>
              </a:rPr>
              <a:t>Y</a:t>
            </a:r>
            <a:r>
              <a:rPr sz="3200" baseline="-25000">
                <a:solidFill>
                  <a:schemeClr val="accent6"/>
                </a:solidFill>
              </a:rPr>
              <a:t>NN</a:t>
            </a:r>
            <a:r>
              <a:rPr sz="3200"/>
              <a:t>|</a:t>
            </a:r>
            <a:r>
              <a:rPr sz="3200">
                <a:solidFill>
                  <a:srgbClr val="D03643"/>
                </a:solidFill>
              </a:rPr>
              <a:t>Rep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chemeClr val="accent6"/>
                </a:solidFill>
              </a:rPr>
              <a:t>34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            = 0.829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rgbClr val="D03643"/>
                </a:solidFill>
              </a:rPr>
              <a:t>41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</p:txBody>
      </p:sp>
      <p:sp>
        <p:nvSpPr>
          <p:cNvPr id="377" name="Shape 377"/>
          <p:cNvSpPr/>
          <p:nvPr/>
        </p:nvSpPr>
        <p:spPr>
          <a:xfrm>
            <a:off x="2224711" y="3372418"/>
            <a:ext cx="788314" cy="1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78" name="Shape 378"/>
          <p:cNvSpPr/>
          <p:nvPr/>
        </p:nvSpPr>
        <p:spPr>
          <a:xfrm flipH="1">
            <a:off x="4998393" y="1459924"/>
            <a:ext cx="1" cy="2481876"/>
          </a:xfrm>
          <a:prstGeom prst="line">
            <a:avLst/>
          </a:prstGeom>
          <a:ln w="12700">
            <a:solidFill>
              <a:srgbClr val="BFBFBF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79" name="Shape 379"/>
          <p:cNvSpPr/>
          <p:nvPr/>
        </p:nvSpPr>
        <p:spPr>
          <a:xfrm>
            <a:off x="1825432" y="4898092"/>
            <a:ext cx="7963453" cy="11079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chemeClr val="accent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For likelihoods of discrete data,</a:t>
            </a:r>
          </a:p>
          <a:p>
            <a:pPr>
              <a:defRPr sz="2200">
                <a:solidFill>
                  <a:schemeClr val="accent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training/fitting means counting!</a:t>
            </a:r>
          </a:p>
          <a:p>
            <a:pPr>
              <a:defRPr sz="2200">
                <a:solidFill>
                  <a:srgbClr val="808080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(and estimating likelihoods by dividing counts)</a:t>
            </a:r>
          </a:p>
        </p:txBody>
      </p:sp>
      <p:sp>
        <p:nvSpPr>
          <p:cNvPr id="380" name="Shape 380"/>
          <p:cNvSpPr/>
          <p:nvPr/>
        </p:nvSpPr>
        <p:spPr>
          <a:xfrm>
            <a:off x="5997485" y="3378826"/>
            <a:ext cx="788314" cy="1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Shape 382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83" name="Shape 383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84" name="Shape 384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85" name="Shape 385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86" name="Shape 386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387" name="Shape 387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388" name="Shape 388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389" name="Shape 389"/>
          <p:cNvSpPr/>
          <p:nvPr/>
        </p:nvSpPr>
        <p:spPr>
          <a:xfrm>
            <a:off x="2137130" y="1532945"/>
            <a:ext cx="58101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1)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Net Neutrality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390" name="Shape 390"/>
          <p:cNvSpPr/>
          <p:nvPr/>
        </p:nvSpPr>
        <p:spPr>
          <a:xfrm>
            <a:off x="3845120" y="3810394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91" name="Shape 391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392" name="Shape 392"/>
          <p:cNvSpPr/>
          <p:nvPr/>
        </p:nvSpPr>
        <p:spPr>
          <a:xfrm>
            <a:off x="5319555" y="2934450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393" name="Shape 393"/>
          <p:cNvSpPr/>
          <p:nvPr/>
        </p:nvSpPr>
        <p:spPr>
          <a:xfrm>
            <a:off x="2458288" y="3232843"/>
            <a:ext cx="1086692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394" name="Shape 394"/>
          <p:cNvSpPr/>
          <p:nvPr/>
        </p:nvSpPr>
        <p:spPr>
          <a:xfrm>
            <a:off x="4005704" y="292625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395" name="Shape 395"/>
          <p:cNvSpPr/>
          <p:nvPr/>
        </p:nvSpPr>
        <p:spPr>
          <a:xfrm>
            <a:off x="3129814" y="4202804"/>
            <a:ext cx="351818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BFBFBF"/>
                </a:solidFill>
              </a:defRPr>
            </a:pPr>
            <a:r>
              <a:t>evidence</a:t>
            </a:r>
          </a:p>
          <a:p>
            <a:pPr algn="ctr">
              <a:defRPr>
                <a:solidFill>
                  <a:srgbClr val="BFBFBF"/>
                </a:solidFill>
              </a:defRPr>
            </a:pPr>
            <a:r>
              <a:t>(normalization factor)</a:t>
            </a:r>
          </a:p>
        </p:txBody>
      </p:sp>
      <p:sp>
        <p:nvSpPr>
          <p:cNvPr id="396" name="Shape 396"/>
          <p:cNvSpPr/>
          <p:nvPr/>
        </p:nvSpPr>
        <p:spPr>
          <a:xfrm>
            <a:off x="3822340" y="6152682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/>
          <p:nvPr/>
        </p:nvSpPr>
        <p:spPr>
          <a:xfrm>
            <a:off x="2230006" y="570515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hat time is it? Is it 9 AM?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Shape 398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99" name="Shape 399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00" name="Shape 400"/>
          <p:cNvSpPr/>
          <p:nvPr/>
        </p:nvSpPr>
        <p:spPr>
          <a:xfrm>
            <a:off x="8980049" y="5416322"/>
            <a:ext cx="442395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01" name="Shape 401"/>
          <p:cNvSpPr/>
          <p:nvPr/>
        </p:nvSpPr>
        <p:spPr>
          <a:xfrm>
            <a:off x="9868514" y="575210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02" name="Shape 402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403" name="Shape 403"/>
          <p:cNvSpPr/>
          <p:nvPr/>
        </p:nvSpPr>
        <p:spPr>
          <a:xfrm>
            <a:off x="8954527" y="532871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404" name="Shape 404"/>
          <p:cNvSpPr/>
          <p:nvPr/>
        </p:nvSpPr>
        <p:spPr>
          <a:xfrm>
            <a:off x="9822229" y="56855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405" name="Shape 405"/>
          <p:cNvSpPr/>
          <p:nvPr/>
        </p:nvSpPr>
        <p:spPr>
          <a:xfrm>
            <a:off x="2137130" y="1532945"/>
            <a:ext cx="58101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1)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Net Neutrality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0.949    *    0.59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0.829    *    0.41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406" name="Shape 406"/>
          <p:cNvSpPr/>
          <p:nvPr/>
        </p:nvSpPr>
        <p:spPr>
          <a:xfrm>
            <a:off x="3845120" y="3810394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07" name="Shape 407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rior: Initial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) = 0.59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  <p:sp>
        <p:nvSpPr>
          <p:cNvPr id="408" name="Shape 408"/>
          <p:cNvSpPr/>
          <p:nvPr/>
        </p:nvSpPr>
        <p:spPr>
          <a:xfrm>
            <a:off x="5319555" y="2934450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409" name="Shape 409"/>
          <p:cNvSpPr/>
          <p:nvPr/>
        </p:nvSpPr>
        <p:spPr>
          <a:xfrm>
            <a:off x="2458288" y="3232843"/>
            <a:ext cx="1086692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410" name="Shape 410"/>
          <p:cNvSpPr/>
          <p:nvPr/>
        </p:nvSpPr>
        <p:spPr>
          <a:xfrm>
            <a:off x="4005704" y="292625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411" name="Shape 411"/>
          <p:cNvSpPr/>
          <p:nvPr/>
        </p:nvSpPr>
        <p:spPr>
          <a:xfrm>
            <a:off x="3129814" y="4202804"/>
            <a:ext cx="351818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BFBFBF"/>
                </a:solidFill>
              </a:defRPr>
            </a:pPr>
            <a:r>
              <a:t>evidence</a:t>
            </a:r>
          </a:p>
          <a:p>
            <a:pPr algn="ctr">
              <a:defRPr>
                <a:solidFill>
                  <a:srgbClr val="BFBFBF"/>
                </a:solidFill>
              </a:defRPr>
            </a:pPr>
            <a:r>
              <a:t>(normalization factor)</a:t>
            </a:r>
          </a:p>
        </p:txBody>
      </p:sp>
      <p:sp>
        <p:nvSpPr>
          <p:cNvPr id="412" name="Shape 412"/>
          <p:cNvSpPr/>
          <p:nvPr/>
        </p:nvSpPr>
        <p:spPr>
          <a:xfrm>
            <a:off x="3822340" y="6152682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Shape 414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15" name="Shape 415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16" name="Shape 416"/>
          <p:cNvSpPr/>
          <p:nvPr/>
        </p:nvSpPr>
        <p:spPr>
          <a:xfrm>
            <a:off x="8980049" y="5357927"/>
            <a:ext cx="442395" cy="1133857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17" name="Shape 417"/>
          <p:cNvSpPr/>
          <p:nvPr/>
        </p:nvSpPr>
        <p:spPr>
          <a:xfrm>
            <a:off x="9868514" y="5810501"/>
            <a:ext cx="442395" cy="69467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18" name="Shape 418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419" name="Shape 419"/>
          <p:cNvSpPr/>
          <p:nvPr/>
        </p:nvSpPr>
        <p:spPr>
          <a:xfrm>
            <a:off x="8954527" y="5299520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2</a:t>
            </a:r>
          </a:p>
        </p:txBody>
      </p:sp>
      <p:sp>
        <p:nvSpPr>
          <p:cNvPr id="420" name="Shape 420"/>
          <p:cNvSpPr/>
          <p:nvPr/>
        </p:nvSpPr>
        <p:spPr>
          <a:xfrm>
            <a:off x="9822229" y="5729302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8</a:t>
            </a:r>
          </a:p>
        </p:txBody>
      </p:sp>
      <p:sp>
        <p:nvSpPr>
          <p:cNvPr id="421" name="Shape 421"/>
          <p:cNvSpPr/>
          <p:nvPr/>
        </p:nvSpPr>
        <p:spPr>
          <a:xfrm>
            <a:off x="2137130" y="1532945"/>
            <a:ext cx="58101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1)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Net Neutrality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0.949    *    0.59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0.829    *    0.41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422" name="Shape 422"/>
          <p:cNvSpPr/>
          <p:nvPr/>
        </p:nvSpPr>
        <p:spPr>
          <a:xfrm>
            <a:off x="3845120" y="3810394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23" name="Shape 423"/>
          <p:cNvSpPr/>
          <p:nvPr/>
        </p:nvSpPr>
        <p:spPr>
          <a:xfrm>
            <a:off x="5319555" y="2934450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424" name="Shape 424"/>
          <p:cNvSpPr/>
          <p:nvPr/>
        </p:nvSpPr>
        <p:spPr>
          <a:xfrm>
            <a:off x="2458288" y="3232843"/>
            <a:ext cx="1086692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425" name="Shape 425"/>
          <p:cNvSpPr/>
          <p:nvPr/>
        </p:nvSpPr>
        <p:spPr>
          <a:xfrm>
            <a:off x="4005704" y="292625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426" name="Shape 426"/>
          <p:cNvSpPr/>
          <p:nvPr/>
        </p:nvSpPr>
        <p:spPr>
          <a:xfrm>
            <a:off x="3129814" y="4202804"/>
            <a:ext cx="351818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BFBFBF"/>
                </a:solidFill>
              </a:defRPr>
            </a:pPr>
            <a:r>
              <a:t>evidence</a:t>
            </a:r>
          </a:p>
          <a:p>
            <a:pPr algn="ctr">
              <a:defRPr>
                <a:solidFill>
                  <a:srgbClr val="BFBFBF"/>
                </a:solidFill>
              </a:defRPr>
            </a:pPr>
            <a:r>
              <a:t>(normalization factor)</a:t>
            </a:r>
          </a:p>
        </p:txBody>
      </p:sp>
      <p:sp>
        <p:nvSpPr>
          <p:cNvPr id="427" name="Shape 427"/>
          <p:cNvSpPr/>
          <p:nvPr/>
        </p:nvSpPr>
        <p:spPr>
          <a:xfrm>
            <a:off x="3822340" y="6152682"/>
            <a:ext cx="2321134" cy="12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28" name="Shape 428"/>
          <p:cNvSpPr/>
          <p:nvPr/>
        </p:nvSpPr>
        <p:spPr>
          <a:xfrm>
            <a:off x="9188099" y="3825004"/>
            <a:ext cx="14599" cy="1080346"/>
          </a:xfrm>
          <a:prstGeom prst="line">
            <a:avLst/>
          </a:prstGeom>
          <a:ln w="12700">
            <a:solidFill>
              <a:schemeClr val="accent1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29" name="Shape 429"/>
          <p:cNvSpPr/>
          <p:nvPr/>
        </p:nvSpPr>
        <p:spPr>
          <a:xfrm>
            <a:off x="10041215" y="3816811"/>
            <a:ext cx="14599" cy="1080346"/>
          </a:xfrm>
          <a:prstGeom prst="line">
            <a:avLst/>
          </a:prstGeom>
          <a:ln w="12700">
            <a:solidFill>
              <a:schemeClr val="accent1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30" name="Shape 430"/>
          <p:cNvSpPr/>
          <p:nvPr/>
        </p:nvSpPr>
        <p:spPr>
          <a:xfrm>
            <a:off x="8917151" y="2874275"/>
            <a:ext cx="1395021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808080"/>
                </a:solidFill>
              </a:defRPr>
            </a:pPr>
            <a:r>
              <a:t>New</a:t>
            </a:r>
          </a:p>
          <a:p>
            <a:pPr algn="ctr">
              <a:defRPr>
                <a:solidFill>
                  <a:srgbClr val="808080"/>
                </a:solidFill>
              </a:defRPr>
            </a:pPr>
            <a:r>
              <a:t>posterior</a:t>
            </a:r>
          </a:p>
          <a:p>
            <a:pPr algn="ctr">
              <a:defRPr>
                <a:solidFill>
                  <a:srgbClr val="808080"/>
                </a:solidFill>
              </a:defRPr>
            </a:pPr>
            <a:r>
              <a:t>distribution</a:t>
            </a:r>
          </a:p>
        </p:txBody>
      </p:sp>
      <p:sp>
        <p:nvSpPr>
          <p:cNvPr id="431" name="Shape 431"/>
          <p:cNvSpPr/>
          <p:nvPr/>
        </p:nvSpPr>
        <p:spPr>
          <a:xfrm>
            <a:off x="2081784" y="438913"/>
            <a:ext cx="7963453" cy="11695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) = 0.62</a:t>
            </a: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Shape 433"/>
          <p:cNvSpPr/>
          <p:nvPr/>
        </p:nvSpPr>
        <p:spPr>
          <a:xfrm>
            <a:off x="2137130" y="1532943"/>
            <a:ext cx="5810119" cy="14465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2):</a:t>
            </a:r>
          </a:p>
          <a:p>
            <a:pPr>
              <a:def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Tax Cut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434" name="Shape 434"/>
          <p:cNvSpPr/>
          <p:nvPr/>
        </p:nvSpPr>
        <p:spPr>
          <a:xfrm>
            <a:off x="2081784" y="438912"/>
            <a:ext cx="7963453" cy="860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) = 0.62</a:t>
            </a:r>
          </a:p>
        </p:txBody>
      </p:sp>
      <p:sp>
        <p:nvSpPr>
          <p:cNvPr id="435" name="Shape 435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36" name="Shape 436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37" name="Shape 437"/>
          <p:cNvSpPr/>
          <p:nvPr/>
        </p:nvSpPr>
        <p:spPr>
          <a:xfrm>
            <a:off x="8980049" y="5357927"/>
            <a:ext cx="442395" cy="1133857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38" name="Shape 438"/>
          <p:cNvSpPr/>
          <p:nvPr/>
        </p:nvSpPr>
        <p:spPr>
          <a:xfrm>
            <a:off x="9868514" y="5810501"/>
            <a:ext cx="442395" cy="69467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39" name="Shape 439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440" name="Shape 440"/>
          <p:cNvSpPr/>
          <p:nvPr/>
        </p:nvSpPr>
        <p:spPr>
          <a:xfrm>
            <a:off x="8954527" y="5299520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2</a:t>
            </a:r>
          </a:p>
        </p:txBody>
      </p:sp>
      <p:sp>
        <p:nvSpPr>
          <p:cNvPr id="441" name="Shape 441"/>
          <p:cNvSpPr/>
          <p:nvPr/>
        </p:nvSpPr>
        <p:spPr>
          <a:xfrm>
            <a:off x="9822229" y="5729302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8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Shape 443"/>
          <p:cNvSpPr/>
          <p:nvPr/>
        </p:nvSpPr>
        <p:spPr>
          <a:xfrm>
            <a:off x="2137130" y="1532945"/>
            <a:ext cx="58101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2):</a:t>
            </a:r>
          </a:p>
          <a:p>
            <a:pPr>
              <a:def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Tax Cut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P(</a:t>
            </a:r>
            <a:r>
              <a: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P(</a:t>
            </a:r>
            <a:r>
              <a: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 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444" name="Shape 444"/>
          <p:cNvSpPr/>
          <p:nvPr/>
        </p:nvSpPr>
        <p:spPr>
          <a:xfrm>
            <a:off x="2081784" y="438912"/>
            <a:ext cx="7963453" cy="860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) = 0.62</a:t>
            </a:r>
          </a:p>
        </p:txBody>
      </p:sp>
      <p:sp>
        <p:nvSpPr>
          <p:cNvPr id="445" name="Shape 445"/>
          <p:cNvSpPr/>
          <p:nvPr/>
        </p:nvSpPr>
        <p:spPr>
          <a:xfrm flipV="1">
            <a:off x="4312257" y="3795805"/>
            <a:ext cx="3138647" cy="1459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46" name="Shape 446"/>
          <p:cNvSpPr/>
          <p:nvPr/>
        </p:nvSpPr>
        <p:spPr>
          <a:xfrm>
            <a:off x="4245685" y="6152682"/>
            <a:ext cx="2752664" cy="8205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47" name="Shape 447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48" name="Shape 448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49" name="Shape 449"/>
          <p:cNvSpPr/>
          <p:nvPr/>
        </p:nvSpPr>
        <p:spPr>
          <a:xfrm>
            <a:off x="8980049" y="5357927"/>
            <a:ext cx="442395" cy="1133857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50" name="Shape 450"/>
          <p:cNvSpPr/>
          <p:nvPr/>
        </p:nvSpPr>
        <p:spPr>
          <a:xfrm>
            <a:off x="9868514" y="5810501"/>
            <a:ext cx="442395" cy="69467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51" name="Shape 451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452" name="Shape 452"/>
          <p:cNvSpPr/>
          <p:nvPr/>
        </p:nvSpPr>
        <p:spPr>
          <a:xfrm>
            <a:off x="8954527" y="5299520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2</a:t>
            </a:r>
          </a:p>
        </p:txBody>
      </p:sp>
      <p:sp>
        <p:nvSpPr>
          <p:cNvPr id="453" name="Shape 453"/>
          <p:cNvSpPr/>
          <p:nvPr/>
        </p:nvSpPr>
        <p:spPr>
          <a:xfrm>
            <a:off x="9822229" y="5729302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8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Shape 455"/>
          <p:cNvSpPr/>
          <p:nvPr/>
        </p:nvSpPr>
        <p:spPr>
          <a:xfrm>
            <a:off x="2081784" y="438912"/>
            <a:ext cx="7963453" cy="860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) = 0.62</a:t>
            </a:r>
          </a:p>
        </p:txBody>
      </p:sp>
      <p:sp>
        <p:nvSpPr>
          <p:cNvPr id="456" name="Shape 456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57" name="Shape 457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58" name="Shape 458"/>
          <p:cNvSpPr/>
          <p:nvPr/>
        </p:nvSpPr>
        <p:spPr>
          <a:xfrm>
            <a:off x="8980049" y="5357927"/>
            <a:ext cx="442395" cy="1133857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59" name="Shape 459"/>
          <p:cNvSpPr/>
          <p:nvPr/>
        </p:nvSpPr>
        <p:spPr>
          <a:xfrm>
            <a:off x="9868514" y="5810501"/>
            <a:ext cx="442395" cy="69467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60" name="Shape 460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461" name="Shape 461"/>
          <p:cNvSpPr/>
          <p:nvPr/>
        </p:nvSpPr>
        <p:spPr>
          <a:xfrm>
            <a:off x="8954527" y="5299520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2</a:t>
            </a:r>
          </a:p>
        </p:txBody>
      </p:sp>
      <p:sp>
        <p:nvSpPr>
          <p:cNvPr id="462" name="Shape 462"/>
          <p:cNvSpPr/>
          <p:nvPr/>
        </p:nvSpPr>
        <p:spPr>
          <a:xfrm>
            <a:off x="9822229" y="5729302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8</a:t>
            </a:r>
          </a:p>
        </p:txBody>
      </p:sp>
      <p:sp>
        <p:nvSpPr>
          <p:cNvPr id="463" name="Shape 463"/>
          <p:cNvSpPr/>
          <p:nvPr/>
        </p:nvSpPr>
        <p:spPr>
          <a:xfrm>
            <a:off x="1918153" y="1868707"/>
            <a:ext cx="3138633" cy="2480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2"/>
                </a:solidFill>
              </a:rPr>
              <a:t>Y</a:t>
            </a:r>
            <a:r>
              <a:rPr sz="3200" baseline="-25000">
                <a:solidFill>
                  <a:schemeClr val="accent2"/>
                </a:solidFill>
              </a:rPr>
              <a:t>TC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chemeClr val="accent2"/>
                </a:solidFill>
              </a:rPr>
              <a:t>10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            = 0.169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chemeClr val="accent1"/>
                </a:solidFill>
              </a:rPr>
              <a:t>59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</p:txBody>
      </p:sp>
      <p:sp>
        <p:nvSpPr>
          <p:cNvPr id="464" name="Shape 464"/>
          <p:cNvSpPr/>
          <p:nvPr/>
        </p:nvSpPr>
        <p:spPr>
          <a:xfrm>
            <a:off x="5720128" y="1865376"/>
            <a:ext cx="3205203" cy="28007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chemeClr val="accent2"/>
                </a:solidFill>
              </a:rPr>
              <a:t>Y</a:t>
            </a:r>
            <a:r>
              <a:rPr sz="3200" baseline="-25000">
                <a:solidFill>
                  <a:schemeClr val="accent2"/>
                </a:solidFill>
              </a:rPr>
              <a:t>TC</a:t>
            </a:r>
            <a:r>
              <a:rPr sz="3200"/>
              <a:t>|</a:t>
            </a:r>
            <a:r>
              <a:rPr sz="3200">
                <a:solidFill>
                  <a:srgbClr val="D03643"/>
                </a:solidFill>
              </a:rPr>
              <a:t>Rep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chemeClr val="accent2"/>
                </a:solidFill>
              </a:rPr>
              <a:t>35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            = 0.854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rgbClr val="D03643"/>
                </a:solidFill>
              </a:rPr>
              <a:t>41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</p:txBody>
      </p:sp>
      <p:sp>
        <p:nvSpPr>
          <p:cNvPr id="465" name="Shape 465"/>
          <p:cNvSpPr/>
          <p:nvPr/>
        </p:nvSpPr>
        <p:spPr>
          <a:xfrm>
            <a:off x="2224711" y="3372418"/>
            <a:ext cx="788314" cy="1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66" name="Shape 466"/>
          <p:cNvSpPr/>
          <p:nvPr/>
        </p:nvSpPr>
        <p:spPr>
          <a:xfrm>
            <a:off x="5997485" y="3378826"/>
            <a:ext cx="788314" cy="1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Shape 468"/>
          <p:cNvSpPr/>
          <p:nvPr/>
        </p:nvSpPr>
        <p:spPr>
          <a:xfrm>
            <a:off x="2137130" y="1532945"/>
            <a:ext cx="58101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2):</a:t>
            </a:r>
          </a:p>
          <a:p>
            <a:pPr>
              <a:def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Tax Cut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P(</a:t>
            </a:r>
            <a:r>
              <a: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P(</a:t>
            </a:r>
            <a:r>
              <a: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 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469" name="Shape 469"/>
          <p:cNvSpPr/>
          <p:nvPr/>
        </p:nvSpPr>
        <p:spPr>
          <a:xfrm>
            <a:off x="2081784" y="438912"/>
            <a:ext cx="7963453" cy="860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) = 0.62</a:t>
            </a:r>
          </a:p>
        </p:txBody>
      </p:sp>
      <p:sp>
        <p:nvSpPr>
          <p:cNvPr id="470" name="Shape 470"/>
          <p:cNvSpPr/>
          <p:nvPr/>
        </p:nvSpPr>
        <p:spPr>
          <a:xfrm flipV="1">
            <a:off x="4312257" y="3795805"/>
            <a:ext cx="3138647" cy="1459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71" name="Shape 471"/>
          <p:cNvSpPr/>
          <p:nvPr/>
        </p:nvSpPr>
        <p:spPr>
          <a:xfrm>
            <a:off x="4245685" y="6152682"/>
            <a:ext cx="2752664" cy="8205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72" name="Shape 472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73" name="Shape 473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74" name="Shape 474"/>
          <p:cNvSpPr/>
          <p:nvPr/>
        </p:nvSpPr>
        <p:spPr>
          <a:xfrm>
            <a:off x="8980049" y="5357927"/>
            <a:ext cx="442395" cy="1133857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75" name="Shape 475"/>
          <p:cNvSpPr/>
          <p:nvPr/>
        </p:nvSpPr>
        <p:spPr>
          <a:xfrm>
            <a:off x="9868514" y="5810501"/>
            <a:ext cx="442395" cy="69467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76" name="Shape 476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477" name="Shape 477"/>
          <p:cNvSpPr/>
          <p:nvPr/>
        </p:nvSpPr>
        <p:spPr>
          <a:xfrm>
            <a:off x="8954527" y="5299520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2</a:t>
            </a:r>
          </a:p>
        </p:txBody>
      </p:sp>
      <p:sp>
        <p:nvSpPr>
          <p:cNvPr id="478" name="Shape 478"/>
          <p:cNvSpPr/>
          <p:nvPr/>
        </p:nvSpPr>
        <p:spPr>
          <a:xfrm>
            <a:off x="9822229" y="5729302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8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Shape 480"/>
          <p:cNvSpPr/>
          <p:nvPr/>
        </p:nvSpPr>
        <p:spPr>
          <a:xfrm>
            <a:off x="2137130" y="1532945"/>
            <a:ext cx="58101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2):</a:t>
            </a:r>
          </a:p>
          <a:p>
            <a:pPr>
              <a:def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Tax Cut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0.169    *    0.62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0.854    *    0.38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 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481" name="Shape 481"/>
          <p:cNvSpPr/>
          <p:nvPr/>
        </p:nvSpPr>
        <p:spPr>
          <a:xfrm>
            <a:off x="2081784" y="438912"/>
            <a:ext cx="7963453" cy="860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) = 0.62</a:t>
            </a:r>
          </a:p>
        </p:txBody>
      </p:sp>
      <p:sp>
        <p:nvSpPr>
          <p:cNvPr id="482" name="Shape 482"/>
          <p:cNvSpPr/>
          <p:nvPr/>
        </p:nvSpPr>
        <p:spPr>
          <a:xfrm flipV="1">
            <a:off x="4312257" y="3795805"/>
            <a:ext cx="3138647" cy="1459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83" name="Shape 483"/>
          <p:cNvSpPr/>
          <p:nvPr/>
        </p:nvSpPr>
        <p:spPr>
          <a:xfrm>
            <a:off x="4245685" y="6152682"/>
            <a:ext cx="2752664" cy="8205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84" name="Shape 484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85" name="Shape 485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86" name="Shape 486"/>
          <p:cNvSpPr/>
          <p:nvPr/>
        </p:nvSpPr>
        <p:spPr>
          <a:xfrm>
            <a:off x="8980049" y="5357927"/>
            <a:ext cx="442395" cy="1133857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87" name="Shape 487"/>
          <p:cNvSpPr/>
          <p:nvPr/>
        </p:nvSpPr>
        <p:spPr>
          <a:xfrm>
            <a:off x="9868514" y="5810501"/>
            <a:ext cx="442395" cy="69467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88" name="Shape 488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489" name="Shape 489"/>
          <p:cNvSpPr/>
          <p:nvPr/>
        </p:nvSpPr>
        <p:spPr>
          <a:xfrm>
            <a:off x="8954527" y="5299520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2</a:t>
            </a:r>
          </a:p>
        </p:txBody>
      </p:sp>
      <p:sp>
        <p:nvSpPr>
          <p:cNvPr id="490" name="Shape 490"/>
          <p:cNvSpPr/>
          <p:nvPr/>
        </p:nvSpPr>
        <p:spPr>
          <a:xfrm>
            <a:off x="9822229" y="5729302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8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Shape 492"/>
          <p:cNvSpPr/>
          <p:nvPr/>
        </p:nvSpPr>
        <p:spPr>
          <a:xfrm>
            <a:off x="2137130" y="1532945"/>
            <a:ext cx="58101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2):</a:t>
            </a:r>
          </a:p>
          <a:p>
            <a:pPr>
              <a:def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YES on Tax Cut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0.169    *    0.62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0.854    *    0.38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 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493" name="Shape 493"/>
          <p:cNvSpPr/>
          <p:nvPr/>
        </p:nvSpPr>
        <p:spPr>
          <a:xfrm>
            <a:off x="2081784" y="438912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4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400"/>
              <a:t>) = 0.24</a:t>
            </a:r>
          </a:p>
        </p:txBody>
      </p:sp>
      <p:sp>
        <p:nvSpPr>
          <p:cNvPr id="494" name="Shape 494"/>
          <p:cNvSpPr/>
          <p:nvPr/>
        </p:nvSpPr>
        <p:spPr>
          <a:xfrm flipV="1">
            <a:off x="4312257" y="3795805"/>
            <a:ext cx="3138647" cy="1459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95" name="Shape 495"/>
          <p:cNvSpPr/>
          <p:nvPr/>
        </p:nvSpPr>
        <p:spPr>
          <a:xfrm>
            <a:off x="4245685" y="6152682"/>
            <a:ext cx="2752664" cy="8205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96" name="Shape 496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97" name="Shape 497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98" name="Shape 498"/>
          <p:cNvSpPr/>
          <p:nvPr/>
        </p:nvSpPr>
        <p:spPr>
          <a:xfrm>
            <a:off x="8980049" y="6058692"/>
            <a:ext cx="442395" cy="43309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99" name="Shape 499"/>
          <p:cNvSpPr/>
          <p:nvPr/>
        </p:nvSpPr>
        <p:spPr>
          <a:xfrm>
            <a:off x="9868514" y="5109741"/>
            <a:ext cx="442395" cy="139543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00" name="Shape 500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501" name="Shape 501"/>
          <p:cNvSpPr/>
          <p:nvPr/>
        </p:nvSpPr>
        <p:spPr>
          <a:xfrm>
            <a:off x="8954527" y="600027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24</a:t>
            </a:r>
          </a:p>
        </p:txBody>
      </p:sp>
      <p:sp>
        <p:nvSpPr>
          <p:cNvPr id="502" name="Shape 502"/>
          <p:cNvSpPr/>
          <p:nvPr/>
        </p:nvSpPr>
        <p:spPr>
          <a:xfrm>
            <a:off x="9822229" y="5043148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76</a:t>
            </a:r>
          </a:p>
        </p:txBody>
      </p:sp>
      <p:sp>
        <p:nvSpPr>
          <p:cNvPr id="503" name="Shape 503"/>
          <p:cNvSpPr/>
          <p:nvPr/>
        </p:nvSpPr>
        <p:spPr>
          <a:xfrm>
            <a:off x="9188099" y="3825004"/>
            <a:ext cx="14599" cy="1080346"/>
          </a:xfrm>
          <a:prstGeom prst="line">
            <a:avLst/>
          </a:prstGeom>
          <a:ln w="12700">
            <a:solidFill>
              <a:schemeClr val="accent1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04" name="Shape 504"/>
          <p:cNvSpPr/>
          <p:nvPr/>
        </p:nvSpPr>
        <p:spPr>
          <a:xfrm>
            <a:off x="10041215" y="3816811"/>
            <a:ext cx="14599" cy="1080346"/>
          </a:xfrm>
          <a:prstGeom prst="line">
            <a:avLst/>
          </a:prstGeom>
          <a:ln w="12700">
            <a:solidFill>
              <a:schemeClr val="accent1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05" name="Shape 505"/>
          <p:cNvSpPr/>
          <p:nvPr/>
        </p:nvSpPr>
        <p:spPr>
          <a:xfrm>
            <a:off x="8917151" y="2874275"/>
            <a:ext cx="1395021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808080"/>
                </a:solidFill>
              </a:defRPr>
            </a:pPr>
            <a:r>
              <a:t>New</a:t>
            </a:r>
          </a:p>
          <a:p>
            <a:pPr algn="ctr">
              <a:defRPr>
                <a:solidFill>
                  <a:srgbClr val="808080"/>
                </a:solidFill>
              </a:defRPr>
            </a:pPr>
            <a:r>
              <a:t>posterior</a:t>
            </a:r>
          </a:p>
          <a:p>
            <a:pPr algn="ctr">
              <a:defRPr>
                <a:solidFill>
                  <a:srgbClr val="808080"/>
                </a:solidFill>
              </a:defRPr>
            </a:pPr>
            <a:r>
              <a:t>distribution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Shape 507"/>
          <p:cNvSpPr/>
          <p:nvPr/>
        </p:nvSpPr>
        <p:spPr>
          <a:xfrm>
            <a:off x="2137130" y="1532943"/>
            <a:ext cx="6642219" cy="24929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3):</a:t>
            </a:r>
          </a:p>
          <a:p>
            <a:pPr>
              <a:def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NO on License-free Gun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508" name="Shape 508"/>
          <p:cNvSpPr/>
          <p:nvPr/>
        </p:nvSpPr>
        <p:spPr>
          <a:xfrm>
            <a:off x="2081784" y="438912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4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400"/>
              <a:t>) = 0.24</a:t>
            </a:r>
          </a:p>
        </p:txBody>
      </p:sp>
      <p:sp>
        <p:nvSpPr>
          <p:cNvPr id="509" name="Shape 509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10" name="Shape 510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11" name="Shape 511"/>
          <p:cNvSpPr/>
          <p:nvPr/>
        </p:nvSpPr>
        <p:spPr>
          <a:xfrm>
            <a:off x="8980049" y="6058692"/>
            <a:ext cx="442395" cy="43309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12" name="Shape 512"/>
          <p:cNvSpPr/>
          <p:nvPr/>
        </p:nvSpPr>
        <p:spPr>
          <a:xfrm>
            <a:off x="9868514" y="5109741"/>
            <a:ext cx="442395" cy="139543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13" name="Shape 513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514" name="Shape 514"/>
          <p:cNvSpPr/>
          <p:nvPr/>
        </p:nvSpPr>
        <p:spPr>
          <a:xfrm>
            <a:off x="8954527" y="600027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24</a:t>
            </a:r>
          </a:p>
        </p:txBody>
      </p:sp>
      <p:sp>
        <p:nvSpPr>
          <p:cNvPr id="515" name="Shape 515"/>
          <p:cNvSpPr/>
          <p:nvPr/>
        </p:nvSpPr>
        <p:spPr>
          <a:xfrm>
            <a:off x="9822229" y="5043148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76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Shape 517"/>
          <p:cNvSpPr/>
          <p:nvPr/>
        </p:nvSpPr>
        <p:spPr>
          <a:xfrm>
            <a:off x="2137130" y="1532945"/>
            <a:ext cx="66422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3):</a:t>
            </a:r>
          </a:p>
          <a:p>
            <a:pPr>
              <a:def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NO on License-free Gun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   P(</a:t>
            </a:r>
            <a:r>
              <a: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</a:t>
            </a:r>
            <a:r>
              <a:rPr sz="2200" baseline="-250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LG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    P(</a:t>
            </a:r>
            <a:r>
              <a: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</a:t>
            </a:r>
            <a:r>
              <a:rPr sz="2200" baseline="-250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LG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518" name="Shape 518"/>
          <p:cNvSpPr/>
          <p:nvPr/>
        </p:nvSpPr>
        <p:spPr>
          <a:xfrm>
            <a:off x="2081784" y="438912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4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400"/>
              <a:t>) = 0.24</a:t>
            </a:r>
          </a:p>
        </p:txBody>
      </p:sp>
      <p:sp>
        <p:nvSpPr>
          <p:cNvPr id="519" name="Shape 519"/>
          <p:cNvSpPr/>
          <p:nvPr/>
        </p:nvSpPr>
        <p:spPr>
          <a:xfrm flipV="1">
            <a:off x="4925373" y="3781207"/>
            <a:ext cx="3299240" cy="2919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20" name="Shape 520"/>
          <p:cNvSpPr/>
          <p:nvPr/>
        </p:nvSpPr>
        <p:spPr>
          <a:xfrm>
            <a:off x="4844204" y="6152682"/>
            <a:ext cx="3234427" cy="8205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21" name="Shape 521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22" name="Shape 522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23" name="Shape 523"/>
          <p:cNvSpPr/>
          <p:nvPr/>
        </p:nvSpPr>
        <p:spPr>
          <a:xfrm>
            <a:off x="8980049" y="6058692"/>
            <a:ext cx="442395" cy="43309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24" name="Shape 524"/>
          <p:cNvSpPr/>
          <p:nvPr/>
        </p:nvSpPr>
        <p:spPr>
          <a:xfrm>
            <a:off x="9868514" y="5109741"/>
            <a:ext cx="442395" cy="139543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25" name="Shape 525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526" name="Shape 526"/>
          <p:cNvSpPr/>
          <p:nvPr/>
        </p:nvSpPr>
        <p:spPr>
          <a:xfrm>
            <a:off x="8954527" y="600027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24</a:t>
            </a:r>
          </a:p>
        </p:txBody>
      </p:sp>
      <p:sp>
        <p:nvSpPr>
          <p:cNvPr id="527" name="Shape 527"/>
          <p:cNvSpPr/>
          <p:nvPr/>
        </p:nvSpPr>
        <p:spPr>
          <a:xfrm>
            <a:off x="9822229" y="5043148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76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/>
          <p:nvPr/>
        </p:nvSpPr>
        <p:spPr>
          <a:xfrm>
            <a:off x="2230006" y="570514"/>
            <a:ext cx="7963453" cy="1569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What time is it? Is it 9 AM?</a:t>
            </a:r>
          </a:p>
          <a:p>
            <a:pPr>
              <a:defRPr sz="2400">
                <a:solidFill>
                  <a:schemeClr val="accent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400"/>
          </a:p>
          <a:p>
            <a:pPr>
              <a:defRPr sz="2400">
                <a:solidFill>
                  <a:schemeClr val="accent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Decide between the two hypotheses </a:t>
            </a:r>
            <a:r>
              <a:rPr sz="2400">
                <a:solidFill>
                  <a:srgbClr val="595959"/>
                </a:solidFill>
              </a:rPr>
              <a:t>(</a:t>
            </a:r>
            <a:r>
              <a:rPr sz="2400">
                <a:solidFill>
                  <a:schemeClr val="accent5"/>
                </a:solidFill>
              </a:rPr>
              <a:t>9AM</a:t>
            </a:r>
            <a:r>
              <a:rPr sz="2400">
                <a:solidFill>
                  <a:srgbClr val="595959"/>
                </a:solidFill>
              </a:rPr>
              <a:t>/</a:t>
            </a:r>
            <a:r>
              <a:rPr sz="2400">
                <a:solidFill>
                  <a:srgbClr val="800000"/>
                </a:solidFill>
              </a:rPr>
              <a:t>Not 9AM</a:t>
            </a:r>
            <a:r>
              <a:rPr sz="2400">
                <a:solidFill>
                  <a:srgbClr val="595959"/>
                </a:solidFill>
              </a:rPr>
              <a:t>)</a:t>
            </a:r>
          </a:p>
          <a:p>
            <a:pPr>
              <a:defRPr sz="2400">
                <a:solidFill>
                  <a:schemeClr val="accent6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Using all the information we have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" name="Shape 529"/>
          <p:cNvSpPr/>
          <p:nvPr/>
        </p:nvSpPr>
        <p:spPr>
          <a:xfrm>
            <a:off x="1918153" y="1868707"/>
            <a:ext cx="3138633" cy="2480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rgbClr val="33B9C5"/>
                </a:solidFill>
              </a:rPr>
              <a:t>N</a:t>
            </a:r>
            <a:r>
              <a:rPr sz="3200" baseline="-25000">
                <a:solidFill>
                  <a:srgbClr val="33B9C5"/>
                </a:solidFill>
              </a:rPr>
              <a:t>LG</a:t>
            </a:r>
            <a:r>
              <a:rPr sz="3200"/>
              <a:t>|</a:t>
            </a:r>
            <a:r>
              <a:rPr sz="3200">
                <a:solidFill>
                  <a:schemeClr val="accent1"/>
                </a:solidFill>
              </a:rPr>
              <a:t>Dem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rgbClr val="33B9C5"/>
                </a:solidFill>
              </a:rPr>
              <a:t>53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            = 0.898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chemeClr val="accent1"/>
                </a:solidFill>
              </a:rPr>
              <a:t>59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</p:txBody>
      </p:sp>
      <p:sp>
        <p:nvSpPr>
          <p:cNvPr id="530" name="Shape 530"/>
          <p:cNvSpPr/>
          <p:nvPr/>
        </p:nvSpPr>
        <p:spPr>
          <a:xfrm>
            <a:off x="5720128" y="1865376"/>
            <a:ext cx="3205203" cy="28007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3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3200"/>
              <a:t>P(</a:t>
            </a:r>
            <a:r>
              <a:rPr sz="3200">
                <a:solidFill>
                  <a:srgbClr val="33B9C5"/>
                </a:solidFill>
              </a:rPr>
              <a:t>N</a:t>
            </a:r>
            <a:r>
              <a:rPr sz="3200" baseline="-25000">
                <a:solidFill>
                  <a:srgbClr val="33B9C5"/>
                </a:solidFill>
              </a:rPr>
              <a:t>LG</a:t>
            </a:r>
            <a:r>
              <a:rPr sz="3200"/>
              <a:t>|</a:t>
            </a:r>
            <a:r>
              <a:rPr sz="3200">
                <a:solidFill>
                  <a:srgbClr val="D03643"/>
                </a:solidFill>
              </a:rPr>
              <a:t>Rep</a:t>
            </a:r>
            <a:r>
              <a:rPr sz="3200"/>
              <a:t>)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rgbClr val="33B9C5"/>
                </a:solidFill>
              </a:rPr>
              <a:t>23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≈            = 0.561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      </a:t>
            </a:r>
            <a:r>
              <a:rPr sz="2400">
                <a:solidFill>
                  <a:srgbClr val="D03643"/>
                </a:solidFill>
              </a:rPr>
              <a:t>41</a:t>
            </a:r>
          </a:p>
          <a:p>
            <a:pPr>
              <a:defRPr sz="2400">
                <a:solidFill>
                  <a:srgbClr val="808080"/>
                </a:solidFill>
              </a:defRPr>
            </a:pPr>
            <a:r>
              <a:rPr sz="2400"/>
              <a:t>  </a:t>
            </a:r>
          </a:p>
          <a:p>
            <a:pPr>
              <a:defRPr sz="2400">
                <a:solidFill>
                  <a:srgbClr val="80808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</p:txBody>
      </p:sp>
      <p:sp>
        <p:nvSpPr>
          <p:cNvPr id="531" name="Shape 531"/>
          <p:cNvSpPr/>
          <p:nvPr/>
        </p:nvSpPr>
        <p:spPr>
          <a:xfrm>
            <a:off x="2224711" y="3372418"/>
            <a:ext cx="788314" cy="1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32" name="Shape 532"/>
          <p:cNvSpPr/>
          <p:nvPr/>
        </p:nvSpPr>
        <p:spPr>
          <a:xfrm>
            <a:off x="5997485" y="3378826"/>
            <a:ext cx="788314" cy="1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33" name="Shape 533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34" name="Shape 534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35" name="Shape 535"/>
          <p:cNvSpPr/>
          <p:nvPr/>
        </p:nvSpPr>
        <p:spPr>
          <a:xfrm>
            <a:off x="8980049" y="6058692"/>
            <a:ext cx="442395" cy="43309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36" name="Shape 536"/>
          <p:cNvSpPr/>
          <p:nvPr/>
        </p:nvSpPr>
        <p:spPr>
          <a:xfrm>
            <a:off x="9868514" y="5109741"/>
            <a:ext cx="442395" cy="139543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37" name="Shape 537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538" name="Shape 538"/>
          <p:cNvSpPr/>
          <p:nvPr/>
        </p:nvSpPr>
        <p:spPr>
          <a:xfrm>
            <a:off x="8954527" y="600027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24</a:t>
            </a:r>
          </a:p>
        </p:txBody>
      </p:sp>
      <p:sp>
        <p:nvSpPr>
          <p:cNvPr id="539" name="Shape 539"/>
          <p:cNvSpPr/>
          <p:nvPr/>
        </p:nvSpPr>
        <p:spPr>
          <a:xfrm>
            <a:off x="9822229" y="5043148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76</a:t>
            </a:r>
          </a:p>
        </p:txBody>
      </p:sp>
      <p:sp>
        <p:nvSpPr>
          <p:cNvPr id="540" name="Shape 540"/>
          <p:cNvSpPr/>
          <p:nvPr/>
        </p:nvSpPr>
        <p:spPr>
          <a:xfrm>
            <a:off x="2081784" y="438912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4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400"/>
              <a:t>) = 0.24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" name="Shape 542"/>
          <p:cNvSpPr/>
          <p:nvPr/>
        </p:nvSpPr>
        <p:spPr>
          <a:xfrm>
            <a:off x="2137130" y="1532945"/>
            <a:ext cx="66422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3):</a:t>
            </a:r>
          </a:p>
          <a:p>
            <a:pPr>
              <a:def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NO on License-free Gun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   P(</a:t>
            </a:r>
            <a:r>
              <a: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</a:t>
            </a:r>
            <a:r>
              <a:rPr sz="2200" baseline="-250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LG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Dem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    P(</a:t>
            </a:r>
            <a:r>
              <a: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</a:t>
            </a:r>
            <a:r>
              <a:rPr sz="2200" baseline="-250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LG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2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Rep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N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2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543" name="Shape 543"/>
          <p:cNvSpPr/>
          <p:nvPr/>
        </p:nvSpPr>
        <p:spPr>
          <a:xfrm>
            <a:off x="2081784" y="438912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4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400"/>
              <a:t>) = 0.24</a:t>
            </a:r>
          </a:p>
        </p:txBody>
      </p:sp>
      <p:sp>
        <p:nvSpPr>
          <p:cNvPr id="544" name="Shape 544"/>
          <p:cNvSpPr/>
          <p:nvPr/>
        </p:nvSpPr>
        <p:spPr>
          <a:xfrm flipV="1">
            <a:off x="4925373" y="3781207"/>
            <a:ext cx="3299240" cy="2919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45" name="Shape 545"/>
          <p:cNvSpPr/>
          <p:nvPr/>
        </p:nvSpPr>
        <p:spPr>
          <a:xfrm>
            <a:off x="4844204" y="6152682"/>
            <a:ext cx="3234427" cy="8205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46" name="Shape 546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47" name="Shape 547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48" name="Shape 548"/>
          <p:cNvSpPr/>
          <p:nvPr/>
        </p:nvSpPr>
        <p:spPr>
          <a:xfrm>
            <a:off x="8980049" y="6058692"/>
            <a:ext cx="442395" cy="43309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49" name="Shape 549"/>
          <p:cNvSpPr/>
          <p:nvPr/>
        </p:nvSpPr>
        <p:spPr>
          <a:xfrm>
            <a:off x="9868514" y="5109741"/>
            <a:ext cx="442395" cy="139543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50" name="Shape 550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551" name="Shape 551"/>
          <p:cNvSpPr/>
          <p:nvPr/>
        </p:nvSpPr>
        <p:spPr>
          <a:xfrm>
            <a:off x="8954527" y="600027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24</a:t>
            </a:r>
          </a:p>
        </p:txBody>
      </p:sp>
      <p:sp>
        <p:nvSpPr>
          <p:cNvPr id="552" name="Shape 552"/>
          <p:cNvSpPr/>
          <p:nvPr/>
        </p:nvSpPr>
        <p:spPr>
          <a:xfrm>
            <a:off x="9822229" y="5043148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76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4" name="Shape 554"/>
          <p:cNvSpPr/>
          <p:nvPr/>
        </p:nvSpPr>
        <p:spPr>
          <a:xfrm>
            <a:off x="2137130" y="1532945"/>
            <a:ext cx="66422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3):</a:t>
            </a:r>
          </a:p>
          <a:p>
            <a:pPr>
              <a:def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NO on License-free Gun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        0.898         *        0.24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       0.561         *        0.76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555" name="Shape 555"/>
          <p:cNvSpPr/>
          <p:nvPr/>
        </p:nvSpPr>
        <p:spPr>
          <a:xfrm>
            <a:off x="2081784" y="438912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4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400"/>
              <a:t>) = 0.24</a:t>
            </a:r>
          </a:p>
        </p:txBody>
      </p:sp>
      <p:sp>
        <p:nvSpPr>
          <p:cNvPr id="556" name="Shape 556"/>
          <p:cNvSpPr/>
          <p:nvPr/>
        </p:nvSpPr>
        <p:spPr>
          <a:xfrm flipV="1">
            <a:off x="4925373" y="3781207"/>
            <a:ext cx="3299240" cy="2919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57" name="Shape 557"/>
          <p:cNvSpPr/>
          <p:nvPr/>
        </p:nvSpPr>
        <p:spPr>
          <a:xfrm>
            <a:off x="4844204" y="6152682"/>
            <a:ext cx="3234427" cy="8205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58" name="Shape 558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59" name="Shape 559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60" name="Shape 560"/>
          <p:cNvSpPr/>
          <p:nvPr/>
        </p:nvSpPr>
        <p:spPr>
          <a:xfrm>
            <a:off x="8980049" y="6058692"/>
            <a:ext cx="442395" cy="43309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61" name="Shape 561"/>
          <p:cNvSpPr/>
          <p:nvPr/>
        </p:nvSpPr>
        <p:spPr>
          <a:xfrm>
            <a:off x="9868514" y="5109741"/>
            <a:ext cx="442395" cy="139543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62" name="Shape 562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563" name="Shape 563"/>
          <p:cNvSpPr/>
          <p:nvPr/>
        </p:nvSpPr>
        <p:spPr>
          <a:xfrm>
            <a:off x="8954527" y="600027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24</a:t>
            </a:r>
          </a:p>
        </p:txBody>
      </p:sp>
      <p:sp>
        <p:nvSpPr>
          <p:cNvPr id="564" name="Shape 564"/>
          <p:cNvSpPr/>
          <p:nvPr/>
        </p:nvSpPr>
        <p:spPr>
          <a:xfrm>
            <a:off x="9822229" y="5043148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76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" name="Shape 566"/>
          <p:cNvSpPr/>
          <p:nvPr/>
        </p:nvSpPr>
        <p:spPr>
          <a:xfrm>
            <a:off x="2137130" y="1532945"/>
            <a:ext cx="6642219" cy="65556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 (feature 3):</a:t>
            </a:r>
          </a:p>
          <a:p>
            <a:pPr>
              <a:def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Voted NO on License-free Guns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        0.898         *        0.24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200"/>
              <a:t>              </a:t>
            </a:r>
            <a:r>
              <a:rPr sz="2200">
                <a:latin typeface="Adobe Garamond Pro"/>
                <a:ea typeface="Adobe Garamond Pro"/>
                <a:cs typeface="Adobe Garamond Pro"/>
                <a:sym typeface="Adobe Garamond Pro"/>
              </a:rPr>
              <a:t>                            0.561         *        0.76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400"/>
            </a:pPr>
            <a:endParaRPr sz="24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567" name="Shape 567"/>
          <p:cNvSpPr/>
          <p:nvPr/>
        </p:nvSpPr>
        <p:spPr>
          <a:xfrm>
            <a:off x="2081784" y="438912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4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</a:t>
            </a:r>
            <a:r>
              <a:rPr sz="2400" baseline="-250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LG</a:t>
            </a:r>
            <a:r>
              <a:rPr sz="2400"/>
              <a:t>) = 0.34</a:t>
            </a:r>
          </a:p>
        </p:txBody>
      </p:sp>
      <p:sp>
        <p:nvSpPr>
          <p:cNvPr id="568" name="Shape 568"/>
          <p:cNvSpPr/>
          <p:nvPr/>
        </p:nvSpPr>
        <p:spPr>
          <a:xfrm flipV="1">
            <a:off x="4925373" y="3781207"/>
            <a:ext cx="3299240" cy="2919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69" name="Shape 569"/>
          <p:cNvSpPr/>
          <p:nvPr/>
        </p:nvSpPr>
        <p:spPr>
          <a:xfrm>
            <a:off x="4844204" y="6152682"/>
            <a:ext cx="3234427" cy="8205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70" name="Shape 570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71" name="Shape 571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72" name="Shape 572"/>
          <p:cNvSpPr/>
          <p:nvPr/>
        </p:nvSpPr>
        <p:spPr>
          <a:xfrm>
            <a:off x="8980049" y="5868899"/>
            <a:ext cx="442395" cy="622884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73" name="Shape 573"/>
          <p:cNvSpPr/>
          <p:nvPr/>
        </p:nvSpPr>
        <p:spPr>
          <a:xfrm>
            <a:off x="9868514" y="5299531"/>
            <a:ext cx="442395" cy="120564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74" name="Shape 574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575" name="Shape 575"/>
          <p:cNvSpPr/>
          <p:nvPr/>
        </p:nvSpPr>
        <p:spPr>
          <a:xfrm>
            <a:off x="8954527" y="5825084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4</a:t>
            </a:r>
          </a:p>
        </p:txBody>
      </p:sp>
      <p:sp>
        <p:nvSpPr>
          <p:cNvPr id="576" name="Shape 576"/>
          <p:cNvSpPr/>
          <p:nvPr/>
        </p:nvSpPr>
        <p:spPr>
          <a:xfrm>
            <a:off x="9822229" y="521833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6</a:t>
            </a:r>
          </a:p>
        </p:txBody>
      </p:sp>
      <p:sp>
        <p:nvSpPr>
          <p:cNvPr id="577" name="Shape 577"/>
          <p:cNvSpPr/>
          <p:nvPr/>
        </p:nvSpPr>
        <p:spPr>
          <a:xfrm>
            <a:off x="8917151" y="2874275"/>
            <a:ext cx="1395021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>
                <a:solidFill>
                  <a:srgbClr val="808080"/>
                </a:solidFill>
              </a:defRPr>
            </a:pPr>
            <a:r>
              <a:t>New</a:t>
            </a:r>
          </a:p>
          <a:p>
            <a:pPr algn="ctr">
              <a:defRPr>
                <a:solidFill>
                  <a:srgbClr val="808080"/>
                </a:solidFill>
              </a:defRPr>
            </a:pPr>
            <a:r>
              <a:t>posterior</a:t>
            </a:r>
          </a:p>
          <a:p>
            <a:pPr algn="ctr">
              <a:defRPr>
                <a:solidFill>
                  <a:srgbClr val="808080"/>
                </a:solidFill>
              </a:defRPr>
            </a:pPr>
            <a:r>
              <a:t>distribution</a:t>
            </a:r>
          </a:p>
        </p:txBody>
      </p:sp>
      <p:sp>
        <p:nvSpPr>
          <p:cNvPr id="578" name="Shape 578"/>
          <p:cNvSpPr/>
          <p:nvPr/>
        </p:nvSpPr>
        <p:spPr>
          <a:xfrm>
            <a:off x="9188099" y="3825004"/>
            <a:ext cx="14599" cy="1080346"/>
          </a:xfrm>
          <a:prstGeom prst="line">
            <a:avLst/>
          </a:prstGeom>
          <a:ln w="12700">
            <a:solidFill>
              <a:schemeClr val="accent1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79" name="Shape 579"/>
          <p:cNvSpPr/>
          <p:nvPr/>
        </p:nvSpPr>
        <p:spPr>
          <a:xfrm>
            <a:off x="10041215" y="3816811"/>
            <a:ext cx="14599" cy="1080346"/>
          </a:xfrm>
          <a:prstGeom prst="line">
            <a:avLst/>
          </a:prstGeom>
          <a:ln w="12700">
            <a:solidFill>
              <a:schemeClr val="accent1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Shape 581"/>
          <p:cNvSpPr/>
          <p:nvPr/>
        </p:nvSpPr>
        <p:spPr>
          <a:xfrm>
            <a:off x="2137130" y="1532944"/>
            <a:ext cx="6642219" cy="35086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Classify this person that voted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Yes on Net Neutrality </a:t>
            </a:r>
            <a:r>
              <a:rPr sz="2200">
                <a:solidFill>
                  <a:srgbClr val="595959"/>
                </a:solidFill>
              </a:rPr>
              <a:t>(</a:t>
            </a:r>
            <a:r>
              <a:rPr sz="2200"/>
              <a:t>Y</a:t>
            </a:r>
            <a:r>
              <a:rPr sz="2200" baseline="-25000"/>
              <a:t>NN</a:t>
            </a:r>
            <a:r>
              <a:rPr sz="2200">
                <a:solidFill>
                  <a:srgbClr val="595959"/>
                </a:solidFill>
              </a:rPr>
              <a:t>),</a:t>
            </a:r>
          </a:p>
          <a:p>
            <a:pPr>
              <a:def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Yes on Tax Cuts </a:t>
            </a:r>
            <a:r>
              <a:rPr sz="2200">
                <a:solidFill>
                  <a:srgbClr val="595959"/>
                </a:solidFill>
              </a:rPr>
              <a:t>(</a:t>
            </a:r>
            <a:r>
              <a:rPr sz="2200"/>
              <a:t>Y</a:t>
            </a:r>
            <a:r>
              <a:rPr sz="2200" baseline="-25000"/>
              <a:t>TC</a:t>
            </a:r>
            <a:r>
              <a:rPr sz="2200">
                <a:solidFill>
                  <a:srgbClr val="595959"/>
                </a:solidFill>
              </a:rPr>
              <a:t>),</a:t>
            </a:r>
          </a:p>
          <a:p>
            <a:pPr>
              <a:def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o on License-free Guns </a:t>
            </a:r>
            <a:r>
              <a:rPr sz="2200">
                <a:solidFill>
                  <a:srgbClr val="595959"/>
                </a:solidFill>
              </a:rPr>
              <a:t>(</a:t>
            </a:r>
            <a:r>
              <a:rPr sz="2200"/>
              <a:t>N</a:t>
            </a:r>
            <a:r>
              <a:rPr sz="2200" baseline="-25000"/>
              <a:t>LG</a:t>
            </a:r>
            <a:r>
              <a:rPr sz="2200">
                <a:solidFill>
                  <a:srgbClr val="595959"/>
                </a:solidFill>
              </a:rPr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>
              <a:solidFill>
                <a:srgbClr val="595959"/>
              </a:solidFill>
            </a:endParaRPr>
          </a:p>
          <a:p>
            <a:pPr>
              <a:defRPr sz="2400"/>
            </a:pPr>
            <a:endParaRPr sz="2400">
              <a:solidFill>
                <a:srgbClr val="595959"/>
              </a:solidFill>
            </a:endParaRP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>
              <a:solidFill>
                <a:srgbClr val="595959"/>
              </a:solidFill>
            </a:endParaRP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>
              <a:solidFill>
                <a:srgbClr val="595959"/>
              </a:solidFill>
            </a:endParaRPr>
          </a:p>
        </p:txBody>
      </p:sp>
      <p:sp>
        <p:nvSpPr>
          <p:cNvPr id="582" name="Shape 582"/>
          <p:cNvSpPr/>
          <p:nvPr/>
        </p:nvSpPr>
        <p:spPr>
          <a:xfrm>
            <a:off x="2081784" y="438912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4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</a:t>
            </a:r>
            <a:r>
              <a:rPr sz="2400" baseline="-250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LG</a:t>
            </a:r>
            <a:r>
              <a:rPr sz="2400"/>
              <a:t>) = 0.34</a:t>
            </a:r>
          </a:p>
        </p:txBody>
      </p:sp>
      <p:sp>
        <p:nvSpPr>
          <p:cNvPr id="583" name="Shape 583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84" name="Shape 584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85" name="Shape 585"/>
          <p:cNvSpPr/>
          <p:nvPr/>
        </p:nvSpPr>
        <p:spPr>
          <a:xfrm>
            <a:off x="8980049" y="5868899"/>
            <a:ext cx="442395" cy="622884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86" name="Shape 586"/>
          <p:cNvSpPr/>
          <p:nvPr/>
        </p:nvSpPr>
        <p:spPr>
          <a:xfrm>
            <a:off x="9868514" y="5299531"/>
            <a:ext cx="442395" cy="120564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87" name="Shape 587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588" name="Shape 588"/>
          <p:cNvSpPr/>
          <p:nvPr/>
        </p:nvSpPr>
        <p:spPr>
          <a:xfrm>
            <a:off x="8954527" y="5825084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4</a:t>
            </a:r>
          </a:p>
        </p:txBody>
      </p:sp>
      <p:sp>
        <p:nvSpPr>
          <p:cNvPr id="589" name="Shape 589"/>
          <p:cNvSpPr/>
          <p:nvPr/>
        </p:nvSpPr>
        <p:spPr>
          <a:xfrm>
            <a:off x="9822229" y="521833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6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Shape 591"/>
          <p:cNvSpPr/>
          <p:nvPr/>
        </p:nvSpPr>
        <p:spPr>
          <a:xfrm>
            <a:off x="2137130" y="1532945"/>
            <a:ext cx="6642219" cy="3816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Classify this person that voted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Yes on Net Neutrality </a:t>
            </a:r>
            <a:r>
              <a:rPr sz="2200">
                <a:solidFill>
                  <a:srgbClr val="595959"/>
                </a:solidFill>
              </a:rPr>
              <a:t>(</a:t>
            </a:r>
            <a:r>
              <a:rPr sz="2200"/>
              <a:t>Y</a:t>
            </a:r>
            <a:r>
              <a:rPr sz="2200" baseline="-25000"/>
              <a:t>NN</a:t>
            </a:r>
            <a:r>
              <a:rPr sz="2200">
                <a:solidFill>
                  <a:srgbClr val="595959"/>
                </a:solidFill>
              </a:rPr>
              <a:t>),</a:t>
            </a:r>
          </a:p>
          <a:p>
            <a:pPr>
              <a:def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Yes on Tax Cuts </a:t>
            </a:r>
            <a:r>
              <a:rPr sz="2200">
                <a:solidFill>
                  <a:srgbClr val="595959"/>
                </a:solidFill>
              </a:rPr>
              <a:t>(</a:t>
            </a:r>
            <a:r>
              <a:rPr sz="2200"/>
              <a:t>Y</a:t>
            </a:r>
            <a:r>
              <a:rPr sz="2200" baseline="-25000"/>
              <a:t>TC</a:t>
            </a:r>
            <a:r>
              <a:rPr sz="2200">
                <a:solidFill>
                  <a:srgbClr val="595959"/>
                </a:solidFill>
              </a:rPr>
              <a:t>),</a:t>
            </a:r>
          </a:p>
          <a:p>
            <a:pPr>
              <a:defRPr sz="22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o on License-free Guns </a:t>
            </a:r>
            <a:r>
              <a:rPr sz="2200">
                <a:solidFill>
                  <a:srgbClr val="595959"/>
                </a:solidFill>
              </a:rPr>
              <a:t>(</a:t>
            </a:r>
            <a:r>
              <a:rPr sz="2200"/>
              <a:t>N</a:t>
            </a:r>
            <a:r>
              <a:rPr sz="2200" baseline="-25000"/>
              <a:t>LG</a:t>
            </a:r>
            <a:r>
              <a:rPr sz="2200">
                <a:solidFill>
                  <a:srgbClr val="595959"/>
                </a:solidFill>
              </a:rP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>
              <a:solidFill>
                <a:srgbClr val="595959"/>
              </a:solidFill>
            </a:endParaRP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My strongest belief is in </a:t>
            </a:r>
            <a:r>
              <a:rPr sz="2200">
                <a:solidFill>
                  <a:srgbClr val="D03643"/>
                </a:solidFill>
              </a:rPr>
              <a:t>H</a:t>
            </a:r>
            <a:r>
              <a:rPr sz="2200" baseline="-25000">
                <a:solidFill>
                  <a:srgbClr val="D03643"/>
                </a:solidFill>
              </a:rPr>
              <a:t>2</a:t>
            </a:r>
            <a:r>
              <a:rPr sz="2200"/>
              <a:t>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I classify this person with the label </a:t>
            </a:r>
            <a:r>
              <a:rPr sz="2200">
                <a:solidFill>
                  <a:srgbClr val="D03643"/>
                </a:solidFill>
              </a:rPr>
              <a:t>Republican</a:t>
            </a:r>
            <a:r>
              <a:rPr sz="2200"/>
              <a:t>.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592" name="Shape 592"/>
          <p:cNvSpPr/>
          <p:nvPr/>
        </p:nvSpPr>
        <p:spPr>
          <a:xfrm>
            <a:off x="2081784" y="438912"/>
            <a:ext cx="796345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Current belief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Democrat</a:t>
            </a:r>
            <a:r>
              <a:rPr sz="2400"/>
              <a:t>|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Y</a:t>
            </a:r>
            <a:r>
              <a:rPr sz="2400" baseline="-250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TC</a:t>
            </a:r>
            <a:r>
              <a:rPr sz="2400">
                <a:latin typeface="Adobe Garamond Pro"/>
                <a:ea typeface="Adobe Garamond Pro"/>
                <a:cs typeface="Adobe Garamond Pro"/>
                <a:sym typeface="Adobe Garamond Pro"/>
              </a:rPr>
              <a:t>,</a:t>
            </a:r>
            <a:r>
              <a:rPr sz="24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N</a:t>
            </a:r>
            <a:r>
              <a:rPr sz="2400" baseline="-25000">
                <a:solidFill>
                  <a:srgbClr val="33B9C5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LG</a:t>
            </a:r>
            <a:r>
              <a:rPr sz="2400"/>
              <a:t>) = 0.34</a:t>
            </a:r>
          </a:p>
        </p:txBody>
      </p:sp>
      <p:sp>
        <p:nvSpPr>
          <p:cNvPr id="593" name="Shape 593"/>
          <p:cNvSpPr/>
          <p:nvPr/>
        </p:nvSpPr>
        <p:spPr>
          <a:xfrm flipH="1">
            <a:off x="8391708" y="4423574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94" name="Shape 594"/>
          <p:cNvSpPr/>
          <p:nvPr/>
        </p:nvSpPr>
        <p:spPr>
          <a:xfrm flipH="1" flipV="1">
            <a:off x="8385192" y="6482069"/>
            <a:ext cx="2180622" cy="2767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95" name="Shape 595"/>
          <p:cNvSpPr/>
          <p:nvPr/>
        </p:nvSpPr>
        <p:spPr>
          <a:xfrm>
            <a:off x="8980049" y="5868899"/>
            <a:ext cx="442395" cy="622884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96" name="Shape 596"/>
          <p:cNvSpPr/>
          <p:nvPr/>
        </p:nvSpPr>
        <p:spPr>
          <a:xfrm>
            <a:off x="9868514" y="5299531"/>
            <a:ext cx="442395" cy="120564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97" name="Shape 597"/>
          <p:cNvSpPr/>
          <p:nvPr/>
        </p:nvSpPr>
        <p:spPr>
          <a:xfrm>
            <a:off x="8896129" y="636115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598" name="Shape 598"/>
          <p:cNvSpPr/>
          <p:nvPr/>
        </p:nvSpPr>
        <p:spPr>
          <a:xfrm>
            <a:off x="8954527" y="5825084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4</a:t>
            </a:r>
          </a:p>
        </p:txBody>
      </p:sp>
      <p:sp>
        <p:nvSpPr>
          <p:cNvPr id="599" name="Shape 599"/>
          <p:cNvSpPr/>
          <p:nvPr/>
        </p:nvSpPr>
        <p:spPr>
          <a:xfrm>
            <a:off x="9822229" y="521833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6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Shape 601"/>
          <p:cNvSpPr/>
          <p:nvPr/>
        </p:nvSpPr>
        <p:spPr>
          <a:xfrm>
            <a:off x="2137130" y="1109574"/>
            <a:ext cx="6642219" cy="60785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chemeClr val="accent2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Training: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Count and calculate the likelihood of each feature value for each class:</a:t>
            </a:r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        </a:t>
            </a:r>
            <a:r>
              <a:rPr sz="2200">
                <a:solidFill>
                  <a:srgbClr val="A6A6A6"/>
                </a:solidFill>
              </a:rPr>
              <a:t>=1 - P(N</a:t>
            </a:r>
            <a:r>
              <a:rPr sz="2200" baseline="-25000">
                <a:solidFill>
                  <a:srgbClr val="A6A6A6"/>
                </a:solidFill>
              </a:rPr>
              <a:t>NN</a:t>
            </a:r>
            <a:r>
              <a:rPr sz="2200">
                <a:solidFill>
                  <a:srgbClr val="A6A6A6"/>
                </a:solidFill>
              </a:rPr>
              <a:t>|Dem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|</a:t>
            </a:r>
            <a:r>
              <a:rPr sz="2200">
                <a:solidFill>
                  <a:srgbClr val="800000"/>
                </a:solidFill>
              </a:rPr>
              <a:t>Rep</a:t>
            </a:r>
            <a:r>
              <a:rPr sz="2200"/>
              <a:t>)           </a:t>
            </a:r>
            <a:r>
              <a:rPr sz="2200">
                <a:solidFill>
                  <a:srgbClr val="A6A6A6"/>
                </a:solidFill>
              </a:rPr>
              <a:t>=1 - P(N</a:t>
            </a:r>
            <a:r>
              <a:rPr sz="2200" baseline="-25000">
                <a:solidFill>
                  <a:srgbClr val="A6A6A6"/>
                </a:solidFill>
              </a:rPr>
              <a:t>NN</a:t>
            </a:r>
            <a:r>
              <a:rPr sz="2200">
                <a:solidFill>
                  <a:srgbClr val="A6A6A6"/>
                </a:solidFill>
              </a:rPr>
              <a:t>|Rep)</a:t>
            </a:r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>
              <a:solidFill>
                <a:srgbClr val="A6A6A6"/>
              </a:solidFill>
            </a:endParaRP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         </a:t>
            </a:r>
            <a:r>
              <a:rPr sz="2200">
                <a:solidFill>
                  <a:srgbClr val="A6A6A6"/>
                </a:solidFill>
              </a:rPr>
              <a:t>=1 - P(N</a:t>
            </a:r>
            <a:r>
              <a:rPr sz="2200" baseline="-25000">
                <a:solidFill>
                  <a:srgbClr val="A6A6A6"/>
                </a:solidFill>
              </a:rPr>
              <a:t>TC</a:t>
            </a:r>
            <a:r>
              <a:rPr sz="2200">
                <a:solidFill>
                  <a:srgbClr val="A6A6A6"/>
                </a:solidFill>
              </a:rPr>
              <a:t>|Dem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|</a:t>
            </a:r>
            <a:r>
              <a:rPr sz="2200">
                <a:solidFill>
                  <a:srgbClr val="800000"/>
                </a:solidFill>
              </a:rPr>
              <a:t>Rep</a:t>
            </a:r>
            <a:r>
              <a:rPr sz="2200"/>
              <a:t>)            </a:t>
            </a:r>
            <a:r>
              <a:rPr sz="2200">
                <a:solidFill>
                  <a:srgbClr val="A6A6A6"/>
                </a:solidFill>
              </a:rPr>
              <a:t>=1 - P(N</a:t>
            </a:r>
            <a:r>
              <a:rPr sz="2200" baseline="-25000">
                <a:solidFill>
                  <a:srgbClr val="A6A6A6"/>
                </a:solidFill>
              </a:rPr>
              <a:t>TC</a:t>
            </a:r>
            <a:r>
              <a:rPr sz="2200">
                <a:solidFill>
                  <a:srgbClr val="A6A6A6"/>
                </a:solidFill>
              </a:rPr>
              <a:t>|Rep)</a:t>
            </a:r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>
              <a:solidFill>
                <a:srgbClr val="A6A6A6"/>
              </a:solidFill>
            </a:endParaRP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33B9C5"/>
                </a:solidFill>
              </a:rPr>
              <a:t>Y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         </a:t>
            </a:r>
            <a:r>
              <a:rPr sz="2200">
                <a:solidFill>
                  <a:srgbClr val="A6A6A6"/>
                </a:solidFill>
              </a:rPr>
              <a:t>=1 - P(N</a:t>
            </a:r>
            <a:r>
              <a:rPr sz="2200" baseline="-25000">
                <a:solidFill>
                  <a:srgbClr val="A6A6A6"/>
                </a:solidFill>
              </a:rPr>
              <a:t>LG</a:t>
            </a:r>
            <a:r>
              <a:rPr sz="2200">
                <a:solidFill>
                  <a:srgbClr val="A6A6A6"/>
                </a:solidFill>
              </a:rPr>
              <a:t>|Dem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33B9C5"/>
                </a:solidFill>
              </a:rPr>
              <a:t>Y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rgbClr val="800000"/>
                </a:solidFill>
              </a:rPr>
              <a:t>Rep</a:t>
            </a:r>
            <a:r>
              <a:rPr sz="2200"/>
              <a:t>)            </a:t>
            </a:r>
            <a:r>
              <a:rPr sz="2200">
                <a:solidFill>
                  <a:srgbClr val="A6A6A6"/>
                </a:solidFill>
              </a:rPr>
              <a:t>=1 - P(N</a:t>
            </a:r>
            <a:r>
              <a:rPr sz="2200" baseline="-25000">
                <a:solidFill>
                  <a:srgbClr val="A6A6A6"/>
                </a:solidFill>
              </a:rPr>
              <a:t>LG</a:t>
            </a:r>
            <a:r>
              <a:rPr sz="2200">
                <a:solidFill>
                  <a:srgbClr val="A6A6A6"/>
                </a:solidFill>
              </a:rPr>
              <a:t>|Rep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>
              <a:solidFill>
                <a:srgbClr val="A6A6A6"/>
              </a:solidFill>
            </a:endParaRP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>
              <a:solidFill>
                <a:srgbClr val="A6A6A6"/>
              </a:solidFill>
            </a:endParaRPr>
          </a:p>
          <a:p>
            <a:pPr>
              <a:defRPr sz="2200">
                <a:solidFill>
                  <a:srgbClr val="C273B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rediction: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Use Bayes to update priors with the likelihoods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ick label with the highest posterior probability.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602" name="Shape 602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Naïve Bayes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Shape 604"/>
          <p:cNvSpPr/>
          <p:nvPr/>
        </p:nvSpPr>
        <p:spPr>
          <a:xfrm>
            <a:off x="3320602" y="556709"/>
            <a:ext cx="555079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3200">
                <a:solidFill>
                  <a:schemeClr val="accent1"/>
                </a:solidFill>
              </a:defRPr>
            </a:lvl1pPr>
          </a:lstStyle>
          <a:p>
            <a:r>
              <a:t>What was the naïve part?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Shape 606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Shape 608"/>
          <p:cNvSpPr/>
          <p:nvPr/>
        </p:nvSpPr>
        <p:spPr>
          <a:xfrm>
            <a:off x="2137130" y="1109572"/>
            <a:ext cx="6642219" cy="22006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Easier to see in a single update rather than sequential</a:t>
            </a:r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609" name="Shape 609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Shape 121"/>
          <p:cNvSpPr/>
          <p:nvPr/>
        </p:nvSpPr>
        <p:spPr>
          <a:xfrm>
            <a:off x="2230006" y="570515"/>
            <a:ext cx="8267159" cy="60016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What time is it? Is it 9 AM?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endParaRPr sz="2400"/>
          </a:p>
          <a:p>
            <a:pPr>
              <a:defRPr sz="2400">
                <a:solidFill>
                  <a:schemeClr val="accent1"/>
                </a:solidFill>
              </a:defRPr>
            </a:pPr>
            <a:r>
              <a:rPr sz="2400"/>
              <a:t>H</a:t>
            </a:r>
            <a:r>
              <a:rPr sz="2400" baseline="-25000"/>
              <a:t>1</a:t>
            </a:r>
            <a:r>
              <a:rPr sz="2400"/>
              <a:t> : It is 9 AM  </a:t>
            </a:r>
            <a:r>
              <a:rPr sz="2400">
                <a:solidFill>
                  <a:srgbClr val="BFBFBF"/>
                </a:solidFill>
              </a:rPr>
              <a:t>(9 to 10)</a:t>
            </a:r>
          </a:p>
          <a:p>
            <a:pPr>
              <a:defRPr sz="2400">
                <a:solidFill>
                  <a:srgbClr val="843C0B"/>
                </a:solidFill>
              </a:defRPr>
            </a:pPr>
            <a:r>
              <a:rPr sz="2400"/>
              <a:t>H</a:t>
            </a:r>
            <a:r>
              <a:rPr sz="2400" baseline="-25000"/>
              <a:t>2</a:t>
            </a:r>
            <a:r>
              <a:rPr sz="2400"/>
              <a:t> : It is </a:t>
            </a:r>
            <a:r>
              <a:rPr sz="2400" b="1"/>
              <a:t>not</a:t>
            </a:r>
            <a:r>
              <a:rPr sz="2400"/>
              <a:t> 9 AM</a:t>
            </a:r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r>
              <a:rPr sz="2400"/>
              <a:t>                                                                     </a:t>
            </a:r>
            <a:r>
              <a:rPr sz="2400">
                <a:solidFill>
                  <a:schemeClr val="accent1"/>
                </a:solidFill>
              </a:rPr>
              <a:t>H</a:t>
            </a:r>
            <a:r>
              <a:rPr sz="2400" baseline="-25000">
                <a:solidFill>
                  <a:schemeClr val="accent1"/>
                </a:solidFill>
              </a:rPr>
              <a:t>1                                 </a:t>
            </a:r>
            <a:r>
              <a:rPr sz="2400"/>
              <a:t>H</a:t>
            </a:r>
            <a:r>
              <a:rPr sz="2400" baseline="-25000"/>
              <a:t>2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                                                                           prior dist.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H</a:t>
            </a:r>
            <a:r>
              <a:rPr sz="2400" baseline="-25000">
                <a:solidFill>
                  <a:schemeClr val="accent1"/>
                </a:solidFill>
              </a:rPr>
              <a:t>1</a:t>
            </a:r>
            <a:r>
              <a:rPr sz="2400"/>
              <a:t>) = P(    </a:t>
            </a:r>
            <a:r>
              <a:rPr sz="2400">
                <a:solidFill>
                  <a:schemeClr val="accent1"/>
                </a:solidFill>
              </a:rPr>
              <a:t>9AM   </a:t>
            </a:r>
            <a:r>
              <a:rPr sz="2400"/>
              <a:t>) = 4.16%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P(</a:t>
            </a:r>
            <a:r>
              <a:rPr sz="2400">
                <a:solidFill>
                  <a:srgbClr val="843C0B"/>
                </a:solidFill>
              </a:rPr>
              <a:t>H</a:t>
            </a:r>
            <a:r>
              <a:rPr sz="2400" baseline="-25000">
                <a:solidFill>
                  <a:srgbClr val="843C0B"/>
                </a:solidFill>
              </a:rPr>
              <a:t>2</a:t>
            </a:r>
            <a:r>
              <a:rPr sz="2400"/>
              <a:t>) = P(</a:t>
            </a:r>
            <a:r>
              <a:rPr sz="2400">
                <a:solidFill>
                  <a:srgbClr val="843C0C"/>
                </a:solidFill>
              </a:rPr>
              <a:t>not 9AM</a:t>
            </a:r>
            <a:r>
              <a:rPr sz="2400"/>
              <a:t>) = 95.84%      </a:t>
            </a:r>
          </a:p>
        </p:txBody>
      </p:sp>
      <p:sp>
        <p:nvSpPr>
          <p:cNvPr id="122" name="Shape 122"/>
          <p:cNvSpPr/>
          <p:nvPr/>
        </p:nvSpPr>
        <p:spPr>
          <a:xfrm>
            <a:off x="6361793" y="1797884"/>
            <a:ext cx="10706" cy="266828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23" name="Shape 123"/>
          <p:cNvSpPr/>
          <p:nvPr/>
        </p:nvSpPr>
        <p:spPr>
          <a:xfrm flipH="1" flipV="1">
            <a:off x="6382188" y="4475883"/>
            <a:ext cx="3376050" cy="4559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24" name="Shape 124"/>
          <p:cNvSpPr/>
          <p:nvPr/>
        </p:nvSpPr>
        <p:spPr>
          <a:xfrm>
            <a:off x="6975438" y="4352020"/>
            <a:ext cx="442395" cy="114152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5" name="Shape 125"/>
          <p:cNvSpPr/>
          <p:nvPr/>
        </p:nvSpPr>
        <p:spPr>
          <a:xfrm>
            <a:off x="8768978" y="1740808"/>
            <a:ext cx="442395" cy="273507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6" name="Shape 126"/>
          <p:cNvSpPr/>
          <p:nvPr/>
        </p:nvSpPr>
        <p:spPr>
          <a:xfrm>
            <a:off x="9475606" y="1"/>
            <a:ext cx="1192397" cy="929641"/>
          </a:xfrm>
          <a:prstGeom prst="rect">
            <a:avLst/>
          </a:prstGeom>
          <a:solidFill>
            <a:srgbClr val="38572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4.16%</a:t>
            </a:r>
          </a:p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Right</a:t>
            </a:r>
          </a:p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Time</a:t>
            </a:r>
          </a:p>
        </p:txBody>
      </p:sp>
      <p:sp>
        <p:nvSpPr>
          <p:cNvPr id="127" name="Shape 127"/>
          <p:cNvSpPr/>
          <p:nvPr/>
        </p:nvSpPr>
        <p:spPr>
          <a:xfrm>
            <a:off x="6049462" y="1649726"/>
            <a:ext cx="452548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600">
                <a:solidFill>
                  <a:srgbClr val="595959"/>
                </a:solidFill>
              </a:defRPr>
            </a:lvl1pPr>
          </a:lstStyle>
          <a:p>
            <a:r>
              <a:t>P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" name="Shape 611"/>
          <p:cNvSpPr/>
          <p:nvPr/>
        </p:nvSpPr>
        <p:spPr>
          <a:xfrm>
            <a:off x="2137129" y="1109573"/>
            <a:ext cx="8291825" cy="44319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A6A6A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Easier to see in a single update rather than sequential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rob. of this example having label </a:t>
            </a:r>
            <a:r>
              <a:rPr sz="2200">
                <a:solidFill>
                  <a:schemeClr val="accent1"/>
                </a:solidFill>
              </a:rPr>
              <a:t>Democrat</a:t>
            </a:r>
            <a:r>
              <a:rPr sz="2200"/>
              <a:t>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  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612" name="Shape 612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  <p:sp>
        <p:nvSpPr>
          <p:cNvPr id="613" name="Shape 613"/>
          <p:cNvSpPr/>
          <p:nvPr/>
        </p:nvSpPr>
        <p:spPr>
          <a:xfrm>
            <a:off x="4925373" y="3679006"/>
            <a:ext cx="3795583" cy="1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Shape 615"/>
          <p:cNvSpPr/>
          <p:nvPr/>
        </p:nvSpPr>
        <p:spPr>
          <a:xfrm>
            <a:off x="2137129" y="1109573"/>
            <a:ext cx="8291825" cy="44319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A6A6A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Easier to see in a single update rather than sequential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rob. of this example having label </a:t>
            </a:r>
            <a:r>
              <a:rPr sz="2200">
                <a:solidFill>
                  <a:schemeClr val="accent1"/>
                </a:solidFill>
              </a:rPr>
              <a:t>Democrat</a:t>
            </a:r>
            <a:r>
              <a:rPr sz="2200"/>
              <a:t>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  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616" name="Shape 616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  <p:sp>
        <p:nvSpPr>
          <p:cNvPr id="617" name="Shape 617"/>
          <p:cNvSpPr/>
          <p:nvPr/>
        </p:nvSpPr>
        <p:spPr>
          <a:xfrm>
            <a:off x="4925373" y="3679006"/>
            <a:ext cx="3795583" cy="1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18" name="Shape 618"/>
          <p:cNvSpPr/>
          <p:nvPr/>
        </p:nvSpPr>
        <p:spPr>
          <a:xfrm>
            <a:off x="7728268" y="2773858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619" name="Shape 619"/>
          <p:cNvSpPr/>
          <p:nvPr/>
        </p:nvSpPr>
        <p:spPr>
          <a:xfrm>
            <a:off x="2837836" y="3101452"/>
            <a:ext cx="108669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620" name="Shape 620"/>
          <p:cNvSpPr/>
          <p:nvPr/>
        </p:nvSpPr>
        <p:spPr>
          <a:xfrm>
            <a:off x="5903482" y="278026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621" name="Shape 621"/>
          <p:cNvSpPr/>
          <p:nvPr/>
        </p:nvSpPr>
        <p:spPr>
          <a:xfrm flipH="1">
            <a:off x="8815049" y="145993"/>
            <a:ext cx="8060" cy="2071897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22" name="Shape 622"/>
          <p:cNvSpPr/>
          <p:nvPr/>
        </p:nvSpPr>
        <p:spPr>
          <a:xfrm flipH="1">
            <a:off x="8808540" y="2232157"/>
            <a:ext cx="1859460" cy="153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23" name="Shape 623"/>
          <p:cNvSpPr/>
          <p:nvPr/>
        </p:nvSpPr>
        <p:spPr>
          <a:xfrm>
            <a:off x="9082233" y="1138742"/>
            <a:ext cx="442396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24" name="Shape 624"/>
          <p:cNvSpPr/>
          <p:nvPr/>
        </p:nvSpPr>
        <p:spPr>
          <a:xfrm>
            <a:off x="9970699" y="147452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25" name="Shape 625"/>
          <p:cNvSpPr/>
          <p:nvPr/>
        </p:nvSpPr>
        <p:spPr>
          <a:xfrm>
            <a:off x="8998314" y="208357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626" name="Shape 626"/>
          <p:cNvSpPr/>
          <p:nvPr/>
        </p:nvSpPr>
        <p:spPr>
          <a:xfrm>
            <a:off x="9056711" y="105113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627" name="Shape 627"/>
          <p:cNvSpPr/>
          <p:nvPr/>
        </p:nvSpPr>
        <p:spPr>
          <a:xfrm>
            <a:off x="9924413" y="140792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628" name="Shape 628"/>
          <p:cNvSpPr/>
          <p:nvPr/>
        </p:nvSpPr>
        <p:spPr>
          <a:xfrm>
            <a:off x="9042118" y="1"/>
            <a:ext cx="1377714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C273B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prior distribution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Shape 630"/>
          <p:cNvSpPr/>
          <p:nvPr/>
        </p:nvSpPr>
        <p:spPr>
          <a:xfrm>
            <a:off x="2049538" y="4715559"/>
            <a:ext cx="7342939" cy="948952"/>
          </a:xfrm>
          <a:prstGeom prst="rect">
            <a:avLst/>
          </a:prstGeom>
          <a:solidFill>
            <a:srgbClr val="D9D9D9"/>
          </a:solidFill>
          <a:ln w="6350">
            <a:solidFill>
              <a:schemeClr val="accent3"/>
            </a:solidFill>
            <a:miter/>
          </a:ln>
        </p:spPr>
        <p:txBody>
          <a:bodyPr lIns="45719" rIns="45719" anchor="ctr"/>
          <a:lstStyle/>
          <a:p>
            <a:pPr algn="ctr"/>
            <a:endParaRPr/>
          </a:p>
        </p:txBody>
      </p:sp>
      <p:sp>
        <p:nvSpPr>
          <p:cNvPr id="631" name="Shape 631"/>
          <p:cNvSpPr/>
          <p:nvPr/>
        </p:nvSpPr>
        <p:spPr>
          <a:xfrm>
            <a:off x="2137129" y="1109574"/>
            <a:ext cx="8291825" cy="47705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A6A6A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Easier to see in a single update rather than sequential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rob. of this example having label </a:t>
            </a:r>
            <a:r>
              <a:rPr sz="2200">
                <a:solidFill>
                  <a:schemeClr val="accent1"/>
                </a:solidFill>
              </a:rPr>
              <a:t>Democrat</a:t>
            </a:r>
            <a:r>
              <a:rPr sz="2200"/>
              <a:t>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  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Independence Assumption: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=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632" name="Shape 632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  <p:sp>
        <p:nvSpPr>
          <p:cNvPr id="633" name="Shape 633"/>
          <p:cNvSpPr/>
          <p:nvPr/>
        </p:nvSpPr>
        <p:spPr>
          <a:xfrm>
            <a:off x="4925373" y="3679006"/>
            <a:ext cx="3795583" cy="1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34" name="Shape 634"/>
          <p:cNvSpPr/>
          <p:nvPr/>
        </p:nvSpPr>
        <p:spPr>
          <a:xfrm>
            <a:off x="7728268" y="2773858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635" name="Shape 635"/>
          <p:cNvSpPr/>
          <p:nvPr/>
        </p:nvSpPr>
        <p:spPr>
          <a:xfrm>
            <a:off x="2837836" y="3101452"/>
            <a:ext cx="108669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636" name="Shape 636"/>
          <p:cNvSpPr/>
          <p:nvPr/>
        </p:nvSpPr>
        <p:spPr>
          <a:xfrm>
            <a:off x="5903482" y="278026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637" name="Shape 637"/>
          <p:cNvSpPr/>
          <p:nvPr/>
        </p:nvSpPr>
        <p:spPr>
          <a:xfrm flipH="1">
            <a:off x="8815049" y="145993"/>
            <a:ext cx="8060" cy="2071897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38" name="Shape 638"/>
          <p:cNvSpPr/>
          <p:nvPr/>
        </p:nvSpPr>
        <p:spPr>
          <a:xfrm flipH="1">
            <a:off x="8808540" y="2232157"/>
            <a:ext cx="1859460" cy="153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39" name="Shape 639"/>
          <p:cNvSpPr/>
          <p:nvPr/>
        </p:nvSpPr>
        <p:spPr>
          <a:xfrm>
            <a:off x="9082233" y="1138742"/>
            <a:ext cx="442396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40" name="Shape 640"/>
          <p:cNvSpPr/>
          <p:nvPr/>
        </p:nvSpPr>
        <p:spPr>
          <a:xfrm>
            <a:off x="9970699" y="147452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41" name="Shape 641"/>
          <p:cNvSpPr/>
          <p:nvPr/>
        </p:nvSpPr>
        <p:spPr>
          <a:xfrm>
            <a:off x="8998314" y="208357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642" name="Shape 642"/>
          <p:cNvSpPr/>
          <p:nvPr/>
        </p:nvSpPr>
        <p:spPr>
          <a:xfrm>
            <a:off x="9056711" y="105113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643" name="Shape 643"/>
          <p:cNvSpPr/>
          <p:nvPr/>
        </p:nvSpPr>
        <p:spPr>
          <a:xfrm>
            <a:off x="9924413" y="140792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644" name="Shape 644"/>
          <p:cNvSpPr/>
          <p:nvPr/>
        </p:nvSpPr>
        <p:spPr>
          <a:xfrm>
            <a:off x="9042118" y="1"/>
            <a:ext cx="1377714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C273B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prior distribution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2049538" y="4715559"/>
            <a:ext cx="7342939" cy="948952"/>
          </a:xfrm>
          <a:prstGeom prst="rect">
            <a:avLst/>
          </a:prstGeom>
          <a:solidFill>
            <a:srgbClr val="D9D9D9"/>
          </a:solidFill>
          <a:ln w="6350">
            <a:solidFill>
              <a:schemeClr val="accent3"/>
            </a:solidFill>
            <a:miter/>
          </a:ln>
        </p:spPr>
        <p:txBody>
          <a:bodyPr lIns="45719" rIns="45719" anchor="ctr"/>
          <a:lstStyle/>
          <a:p>
            <a:pPr algn="ctr"/>
            <a:endParaRPr/>
          </a:p>
        </p:txBody>
      </p:sp>
      <p:sp>
        <p:nvSpPr>
          <p:cNvPr id="647" name="Shape 647"/>
          <p:cNvSpPr/>
          <p:nvPr/>
        </p:nvSpPr>
        <p:spPr>
          <a:xfrm>
            <a:off x="2137129" y="1109573"/>
            <a:ext cx="8291825" cy="54476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A6A6A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Easier to see in a single update rather than sequential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rob. of this example having label </a:t>
            </a:r>
            <a:r>
              <a:rPr sz="2200">
                <a:solidFill>
                  <a:schemeClr val="accent1"/>
                </a:solidFill>
              </a:rPr>
              <a:t>Democrat</a:t>
            </a:r>
            <a:r>
              <a:rPr sz="2200"/>
              <a:t>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  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Independence Assumption: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=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P(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 P(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|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ot even close in most cases!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aïve Bayes still works well.</a:t>
            </a:r>
          </a:p>
        </p:txBody>
      </p:sp>
      <p:sp>
        <p:nvSpPr>
          <p:cNvPr id="648" name="Shape 648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  <p:sp>
        <p:nvSpPr>
          <p:cNvPr id="649" name="Shape 649"/>
          <p:cNvSpPr/>
          <p:nvPr/>
        </p:nvSpPr>
        <p:spPr>
          <a:xfrm>
            <a:off x="4925373" y="3679006"/>
            <a:ext cx="3795583" cy="10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50" name="Shape 650"/>
          <p:cNvSpPr/>
          <p:nvPr/>
        </p:nvSpPr>
        <p:spPr>
          <a:xfrm>
            <a:off x="7728268" y="2773858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651" name="Shape 651"/>
          <p:cNvSpPr/>
          <p:nvPr/>
        </p:nvSpPr>
        <p:spPr>
          <a:xfrm>
            <a:off x="2837836" y="3101452"/>
            <a:ext cx="108669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652" name="Shape 652"/>
          <p:cNvSpPr/>
          <p:nvPr/>
        </p:nvSpPr>
        <p:spPr>
          <a:xfrm>
            <a:off x="5903482" y="278026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653" name="Shape 653"/>
          <p:cNvSpPr/>
          <p:nvPr/>
        </p:nvSpPr>
        <p:spPr>
          <a:xfrm flipH="1">
            <a:off x="8815049" y="145993"/>
            <a:ext cx="8060" cy="2071897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54" name="Shape 654"/>
          <p:cNvSpPr/>
          <p:nvPr/>
        </p:nvSpPr>
        <p:spPr>
          <a:xfrm flipH="1">
            <a:off x="8808540" y="2232157"/>
            <a:ext cx="1859460" cy="153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55" name="Shape 655"/>
          <p:cNvSpPr/>
          <p:nvPr/>
        </p:nvSpPr>
        <p:spPr>
          <a:xfrm>
            <a:off x="9082233" y="1138742"/>
            <a:ext cx="442396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56" name="Shape 656"/>
          <p:cNvSpPr/>
          <p:nvPr/>
        </p:nvSpPr>
        <p:spPr>
          <a:xfrm>
            <a:off x="9970699" y="147452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57" name="Shape 657"/>
          <p:cNvSpPr/>
          <p:nvPr/>
        </p:nvSpPr>
        <p:spPr>
          <a:xfrm>
            <a:off x="8998314" y="208357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658" name="Shape 658"/>
          <p:cNvSpPr/>
          <p:nvPr/>
        </p:nvSpPr>
        <p:spPr>
          <a:xfrm>
            <a:off x="9056711" y="105113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659" name="Shape 659"/>
          <p:cNvSpPr/>
          <p:nvPr/>
        </p:nvSpPr>
        <p:spPr>
          <a:xfrm>
            <a:off x="9924413" y="140792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660" name="Shape 660"/>
          <p:cNvSpPr/>
          <p:nvPr/>
        </p:nvSpPr>
        <p:spPr>
          <a:xfrm>
            <a:off x="9042118" y="1"/>
            <a:ext cx="1377714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C273B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prior distribution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/>
          <p:nvPr/>
        </p:nvSpPr>
        <p:spPr>
          <a:xfrm>
            <a:off x="2137129" y="1109573"/>
            <a:ext cx="8291825" cy="37548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A6A6A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Easier to see in a single update rather than sequential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rob. of this example having label </a:t>
            </a:r>
            <a:r>
              <a:rPr sz="2200">
                <a:solidFill>
                  <a:schemeClr val="accent1"/>
                </a:solidFill>
              </a:rPr>
              <a:t>Democrat</a:t>
            </a:r>
            <a:r>
              <a:rPr sz="2200"/>
              <a:t>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</a:t>
            </a:r>
            <a:r>
              <a:t> P(</a:t>
            </a:r>
            <a:r>
              <a:rPr>
                <a:solidFill>
                  <a:schemeClr val="accent6"/>
                </a:solidFill>
              </a:rPr>
              <a:t>Y</a:t>
            </a:r>
            <a:r>
              <a:rPr baseline="-25000">
                <a:solidFill>
                  <a:schemeClr val="accent6"/>
                </a:solidFill>
              </a:rPr>
              <a:t>NN</a:t>
            </a:r>
            <a:r>
              <a:t>|</a:t>
            </a:r>
            <a:r>
              <a:rPr>
                <a:solidFill>
                  <a:schemeClr val="accent1"/>
                </a:solidFill>
              </a:rPr>
              <a:t>Dem</a:t>
            </a:r>
            <a:r>
              <a:t>) P(</a:t>
            </a:r>
            <a:r>
              <a:rPr>
                <a:solidFill>
                  <a:schemeClr val="accent2"/>
                </a:solidFill>
              </a:rPr>
              <a:t>Y</a:t>
            </a:r>
            <a:r>
              <a:rPr baseline="-25000">
                <a:solidFill>
                  <a:schemeClr val="accent2"/>
                </a:solidFill>
              </a:rPr>
              <a:t>TC</a:t>
            </a:r>
            <a:r>
              <a:t>|</a:t>
            </a:r>
            <a:r>
              <a:rPr>
                <a:solidFill>
                  <a:schemeClr val="accent1"/>
                </a:solidFill>
              </a:rPr>
              <a:t>Dem</a:t>
            </a:r>
            <a:r>
              <a:t>) P(</a:t>
            </a:r>
            <a:r>
              <a:rPr>
                <a:solidFill>
                  <a:srgbClr val="33B9C5"/>
                </a:solidFill>
              </a:rPr>
              <a:t>N</a:t>
            </a:r>
            <a:r>
              <a:rPr baseline="-25000">
                <a:solidFill>
                  <a:srgbClr val="33B9C5"/>
                </a:solidFill>
              </a:rPr>
              <a:t>LG</a:t>
            </a:r>
            <a:r>
              <a:t>|</a:t>
            </a:r>
            <a:r>
              <a:rPr>
                <a:solidFill>
                  <a:schemeClr val="accent1"/>
                </a:solidFill>
              </a:rPr>
              <a:t>Dem</a:t>
            </a:r>
            <a:r>
              <a:t>) P(</a:t>
            </a:r>
            <a:r>
              <a:rPr>
                <a:solidFill>
                  <a:schemeClr val="accent1"/>
                </a:solidFill>
              </a:rPr>
              <a:t>Dem</a:t>
            </a:r>
            <a:r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663" name="Shape 663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  <p:sp>
        <p:nvSpPr>
          <p:cNvPr id="664" name="Shape 664"/>
          <p:cNvSpPr/>
          <p:nvPr/>
        </p:nvSpPr>
        <p:spPr>
          <a:xfrm>
            <a:off x="4925373" y="3679007"/>
            <a:ext cx="4364915" cy="7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65" name="Shape 665"/>
          <p:cNvSpPr/>
          <p:nvPr/>
        </p:nvSpPr>
        <p:spPr>
          <a:xfrm>
            <a:off x="8458168" y="2773858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666" name="Shape 666"/>
          <p:cNvSpPr/>
          <p:nvPr/>
        </p:nvSpPr>
        <p:spPr>
          <a:xfrm>
            <a:off x="2837836" y="3101452"/>
            <a:ext cx="108669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667" name="Shape 667"/>
          <p:cNvSpPr/>
          <p:nvPr/>
        </p:nvSpPr>
        <p:spPr>
          <a:xfrm>
            <a:off x="6005668" y="278026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668" name="Shape 668"/>
          <p:cNvSpPr/>
          <p:nvPr/>
        </p:nvSpPr>
        <p:spPr>
          <a:xfrm flipH="1">
            <a:off x="8815049" y="145993"/>
            <a:ext cx="8060" cy="2071897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69" name="Shape 669"/>
          <p:cNvSpPr/>
          <p:nvPr/>
        </p:nvSpPr>
        <p:spPr>
          <a:xfrm flipH="1">
            <a:off x="8808540" y="2232157"/>
            <a:ext cx="1859460" cy="153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70" name="Shape 670"/>
          <p:cNvSpPr/>
          <p:nvPr/>
        </p:nvSpPr>
        <p:spPr>
          <a:xfrm>
            <a:off x="9082233" y="1138742"/>
            <a:ext cx="442396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71" name="Shape 671"/>
          <p:cNvSpPr/>
          <p:nvPr/>
        </p:nvSpPr>
        <p:spPr>
          <a:xfrm>
            <a:off x="9970699" y="147452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72" name="Shape 672"/>
          <p:cNvSpPr/>
          <p:nvPr/>
        </p:nvSpPr>
        <p:spPr>
          <a:xfrm>
            <a:off x="8998314" y="208357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673" name="Shape 673"/>
          <p:cNvSpPr/>
          <p:nvPr/>
        </p:nvSpPr>
        <p:spPr>
          <a:xfrm>
            <a:off x="9056711" y="105113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674" name="Shape 674"/>
          <p:cNvSpPr/>
          <p:nvPr/>
        </p:nvSpPr>
        <p:spPr>
          <a:xfrm>
            <a:off x="9924413" y="140792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675" name="Shape 675"/>
          <p:cNvSpPr/>
          <p:nvPr/>
        </p:nvSpPr>
        <p:spPr>
          <a:xfrm>
            <a:off x="9042118" y="1"/>
            <a:ext cx="1377714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C273B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prior distribution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7" name="Shape 677"/>
          <p:cNvSpPr/>
          <p:nvPr/>
        </p:nvSpPr>
        <p:spPr>
          <a:xfrm>
            <a:off x="2137129" y="1109573"/>
            <a:ext cx="8291825" cy="37548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A6A6A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Easier to see in a single update rather than sequential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rob. of this example having label </a:t>
            </a:r>
            <a:r>
              <a:rPr sz="2200">
                <a:solidFill>
                  <a:schemeClr val="accent1"/>
                </a:solidFill>
              </a:rPr>
              <a:t>Democrat</a:t>
            </a:r>
            <a:r>
              <a:rPr sz="2200"/>
              <a:t>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</a:t>
            </a:r>
            <a:r>
              <a:t> 0.949 * 0.169 * 0.898       *         0.59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678" name="Shape 678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  <p:sp>
        <p:nvSpPr>
          <p:cNvPr id="679" name="Shape 679"/>
          <p:cNvSpPr/>
          <p:nvPr/>
        </p:nvSpPr>
        <p:spPr>
          <a:xfrm>
            <a:off x="4925373" y="3679007"/>
            <a:ext cx="4364915" cy="7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80" name="Shape 680"/>
          <p:cNvSpPr/>
          <p:nvPr/>
        </p:nvSpPr>
        <p:spPr>
          <a:xfrm>
            <a:off x="8458168" y="2773858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681" name="Shape 681"/>
          <p:cNvSpPr/>
          <p:nvPr/>
        </p:nvSpPr>
        <p:spPr>
          <a:xfrm>
            <a:off x="2837836" y="3101452"/>
            <a:ext cx="108669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682" name="Shape 682"/>
          <p:cNvSpPr/>
          <p:nvPr/>
        </p:nvSpPr>
        <p:spPr>
          <a:xfrm>
            <a:off x="6005668" y="278026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683" name="Shape 683"/>
          <p:cNvSpPr/>
          <p:nvPr/>
        </p:nvSpPr>
        <p:spPr>
          <a:xfrm flipH="1">
            <a:off x="8815049" y="145993"/>
            <a:ext cx="8060" cy="2071897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84" name="Shape 684"/>
          <p:cNvSpPr/>
          <p:nvPr/>
        </p:nvSpPr>
        <p:spPr>
          <a:xfrm flipH="1">
            <a:off x="8808540" y="2232157"/>
            <a:ext cx="1859460" cy="153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85" name="Shape 685"/>
          <p:cNvSpPr/>
          <p:nvPr/>
        </p:nvSpPr>
        <p:spPr>
          <a:xfrm>
            <a:off x="9082233" y="1138742"/>
            <a:ext cx="442396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86" name="Shape 686"/>
          <p:cNvSpPr/>
          <p:nvPr/>
        </p:nvSpPr>
        <p:spPr>
          <a:xfrm>
            <a:off x="9970699" y="147452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87" name="Shape 687"/>
          <p:cNvSpPr/>
          <p:nvPr/>
        </p:nvSpPr>
        <p:spPr>
          <a:xfrm>
            <a:off x="8998314" y="208357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688" name="Shape 688"/>
          <p:cNvSpPr/>
          <p:nvPr/>
        </p:nvSpPr>
        <p:spPr>
          <a:xfrm>
            <a:off x="9056711" y="105113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689" name="Shape 689"/>
          <p:cNvSpPr/>
          <p:nvPr/>
        </p:nvSpPr>
        <p:spPr>
          <a:xfrm>
            <a:off x="9924413" y="140792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690" name="Shape 690"/>
          <p:cNvSpPr/>
          <p:nvPr/>
        </p:nvSpPr>
        <p:spPr>
          <a:xfrm>
            <a:off x="9042118" y="1"/>
            <a:ext cx="1377714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C273B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prior distribution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" name="Shape 692"/>
          <p:cNvSpPr/>
          <p:nvPr/>
        </p:nvSpPr>
        <p:spPr>
          <a:xfrm>
            <a:off x="2137129" y="1109573"/>
            <a:ext cx="8291825" cy="58631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A6A6A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Easier to see in a single update rather than sequential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rob. of this example having label </a:t>
            </a:r>
            <a:r>
              <a:rPr sz="2200">
                <a:solidFill>
                  <a:schemeClr val="accent1"/>
                </a:solidFill>
              </a:rPr>
              <a:t>Democrat</a:t>
            </a:r>
            <a:r>
              <a:rPr sz="2200"/>
              <a:t>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</a:t>
            </a:r>
            <a:r>
              <a:t> 0.949 * 0.169 * 0.898        *         0.59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</a:t>
            </a:r>
            <a:r>
              <a:rPr sz="2400"/>
              <a:t> </a:t>
            </a:r>
            <a:r>
              <a:t>0.829 * 0.854 * 0.561       *         0.41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P(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693" name="Shape 693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  <p:sp>
        <p:nvSpPr>
          <p:cNvPr id="694" name="Shape 694"/>
          <p:cNvSpPr/>
          <p:nvPr/>
        </p:nvSpPr>
        <p:spPr>
          <a:xfrm>
            <a:off x="4925373" y="3679007"/>
            <a:ext cx="4364915" cy="7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95" name="Shape 695"/>
          <p:cNvSpPr/>
          <p:nvPr/>
        </p:nvSpPr>
        <p:spPr>
          <a:xfrm>
            <a:off x="8458168" y="2773858"/>
            <a:ext cx="846700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rior</a:t>
            </a:r>
          </a:p>
        </p:txBody>
      </p:sp>
      <p:sp>
        <p:nvSpPr>
          <p:cNvPr id="696" name="Shape 696"/>
          <p:cNvSpPr/>
          <p:nvPr/>
        </p:nvSpPr>
        <p:spPr>
          <a:xfrm>
            <a:off x="2837836" y="3101452"/>
            <a:ext cx="108669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posterior</a:t>
            </a:r>
          </a:p>
        </p:txBody>
      </p:sp>
      <p:sp>
        <p:nvSpPr>
          <p:cNvPr id="697" name="Shape 697"/>
          <p:cNvSpPr/>
          <p:nvPr/>
        </p:nvSpPr>
        <p:spPr>
          <a:xfrm>
            <a:off x="6005668" y="2780268"/>
            <a:ext cx="114508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0000"/>
                </a:solidFill>
              </a:defRPr>
            </a:lvl1pPr>
          </a:lstStyle>
          <a:p>
            <a:r>
              <a:t>likelihood</a:t>
            </a:r>
          </a:p>
        </p:txBody>
      </p:sp>
      <p:sp>
        <p:nvSpPr>
          <p:cNvPr id="698" name="Shape 698"/>
          <p:cNvSpPr/>
          <p:nvPr/>
        </p:nvSpPr>
        <p:spPr>
          <a:xfrm flipH="1">
            <a:off x="8815049" y="145993"/>
            <a:ext cx="8060" cy="2071897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99" name="Shape 699"/>
          <p:cNvSpPr/>
          <p:nvPr/>
        </p:nvSpPr>
        <p:spPr>
          <a:xfrm flipH="1">
            <a:off x="8808540" y="2232157"/>
            <a:ext cx="1859460" cy="153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00" name="Shape 700"/>
          <p:cNvSpPr/>
          <p:nvPr/>
        </p:nvSpPr>
        <p:spPr>
          <a:xfrm>
            <a:off x="9082233" y="1138742"/>
            <a:ext cx="442396" cy="107914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01" name="Shape 701"/>
          <p:cNvSpPr/>
          <p:nvPr/>
        </p:nvSpPr>
        <p:spPr>
          <a:xfrm>
            <a:off x="9970699" y="1474526"/>
            <a:ext cx="442395" cy="753073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02" name="Shape 702"/>
          <p:cNvSpPr/>
          <p:nvPr/>
        </p:nvSpPr>
        <p:spPr>
          <a:xfrm>
            <a:off x="8998314" y="208357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703" name="Shape 703"/>
          <p:cNvSpPr/>
          <p:nvPr/>
        </p:nvSpPr>
        <p:spPr>
          <a:xfrm>
            <a:off x="9056711" y="105113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9</a:t>
            </a:r>
          </a:p>
        </p:txBody>
      </p:sp>
      <p:sp>
        <p:nvSpPr>
          <p:cNvPr id="704" name="Shape 704"/>
          <p:cNvSpPr/>
          <p:nvPr/>
        </p:nvSpPr>
        <p:spPr>
          <a:xfrm>
            <a:off x="9924413" y="140792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1</a:t>
            </a:r>
          </a:p>
        </p:txBody>
      </p:sp>
      <p:sp>
        <p:nvSpPr>
          <p:cNvPr id="705" name="Shape 705"/>
          <p:cNvSpPr/>
          <p:nvPr/>
        </p:nvSpPr>
        <p:spPr>
          <a:xfrm>
            <a:off x="9042118" y="1"/>
            <a:ext cx="1377714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C273B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prior distribution</a:t>
            </a:r>
          </a:p>
        </p:txBody>
      </p:sp>
      <p:sp>
        <p:nvSpPr>
          <p:cNvPr id="706" name="Shape 706"/>
          <p:cNvSpPr/>
          <p:nvPr/>
        </p:nvSpPr>
        <p:spPr>
          <a:xfrm>
            <a:off x="4902595" y="5408125"/>
            <a:ext cx="4364915" cy="7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Shape 708"/>
          <p:cNvSpPr/>
          <p:nvPr/>
        </p:nvSpPr>
        <p:spPr>
          <a:xfrm>
            <a:off x="2137129" y="1109573"/>
            <a:ext cx="8291825" cy="52629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A6A6A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Easier to see in a single update rather than sequential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rob. of this example having label </a:t>
            </a:r>
            <a:r>
              <a:rPr sz="2200">
                <a:solidFill>
                  <a:schemeClr val="accent1"/>
                </a:solidFill>
              </a:rPr>
              <a:t>Democrat</a:t>
            </a:r>
            <a:r>
              <a:rPr sz="2200"/>
              <a:t>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= 0.34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       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                                                </a:t>
            </a:r>
            <a:r>
              <a:rPr sz="2400"/>
              <a:t>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 = 0.66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709" name="Shape 709"/>
          <p:cNvSpPr/>
          <p:nvPr/>
        </p:nvSpPr>
        <p:spPr>
          <a:xfrm flipH="1">
            <a:off x="8815049" y="145993"/>
            <a:ext cx="8060" cy="2071897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10" name="Shape 710"/>
          <p:cNvSpPr/>
          <p:nvPr/>
        </p:nvSpPr>
        <p:spPr>
          <a:xfrm flipH="1">
            <a:off x="8808540" y="2232157"/>
            <a:ext cx="1859460" cy="1530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11" name="Shape 711"/>
          <p:cNvSpPr/>
          <p:nvPr/>
        </p:nvSpPr>
        <p:spPr>
          <a:xfrm>
            <a:off x="9082233" y="1591319"/>
            <a:ext cx="442396" cy="62656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12" name="Shape 712"/>
          <p:cNvSpPr/>
          <p:nvPr/>
        </p:nvSpPr>
        <p:spPr>
          <a:xfrm>
            <a:off x="9970699" y="1036547"/>
            <a:ext cx="442395" cy="1191050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13" name="Shape 713"/>
          <p:cNvSpPr/>
          <p:nvPr/>
        </p:nvSpPr>
        <p:spPr>
          <a:xfrm>
            <a:off x="8998314" y="2083573"/>
            <a:ext cx="1559960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</a:t>
            </a:r>
          </a:p>
        </p:txBody>
      </p:sp>
      <p:sp>
        <p:nvSpPr>
          <p:cNvPr id="714" name="Shape 714"/>
          <p:cNvSpPr/>
          <p:nvPr/>
        </p:nvSpPr>
        <p:spPr>
          <a:xfrm>
            <a:off x="9056711" y="1547504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4</a:t>
            </a:r>
          </a:p>
        </p:txBody>
      </p:sp>
      <p:sp>
        <p:nvSpPr>
          <p:cNvPr id="715" name="Shape 715"/>
          <p:cNvSpPr/>
          <p:nvPr/>
        </p:nvSpPr>
        <p:spPr>
          <a:xfrm>
            <a:off x="9924413" y="98455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66</a:t>
            </a:r>
          </a:p>
        </p:txBody>
      </p:sp>
      <p:sp>
        <p:nvSpPr>
          <p:cNvPr id="716" name="Shape 716"/>
          <p:cNvSpPr/>
          <p:nvPr/>
        </p:nvSpPr>
        <p:spPr>
          <a:xfrm>
            <a:off x="9042118" y="1"/>
            <a:ext cx="1377714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BF900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posterior distribution</a:t>
            </a:r>
          </a:p>
        </p:txBody>
      </p:sp>
      <p:sp>
        <p:nvSpPr>
          <p:cNvPr id="717" name="Shape 717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We assumed each feature is independent</a:t>
            </a:r>
          </a:p>
        </p:txBody>
      </p:sp>
      <p:sp>
        <p:nvSpPr>
          <p:cNvPr id="718" name="Shape 718"/>
          <p:cNvSpPr/>
          <p:nvPr/>
        </p:nvSpPr>
        <p:spPr>
          <a:xfrm flipH="1">
            <a:off x="5845093" y="5430924"/>
            <a:ext cx="1489025" cy="1"/>
          </a:xfrm>
          <a:prstGeom prst="line">
            <a:avLst/>
          </a:prstGeom>
          <a:ln w="19050">
            <a:solidFill>
              <a:schemeClr val="accent5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19" name="Shape 719"/>
          <p:cNvSpPr/>
          <p:nvPr/>
        </p:nvSpPr>
        <p:spPr>
          <a:xfrm>
            <a:off x="7421698" y="5203747"/>
            <a:ext cx="1086692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BF9000"/>
                </a:solidFill>
              </a:defRPr>
            </a:lvl1pPr>
          </a:lstStyle>
          <a:p>
            <a:r>
              <a:t>predict!</a:t>
            </a: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Shape 721"/>
          <p:cNvSpPr/>
          <p:nvPr/>
        </p:nvSpPr>
        <p:spPr>
          <a:xfrm>
            <a:off x="3320602" y="556709"/>
            <a:ext cx="555079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3200">
                <a:solidFill>
                  <a:schemeClr val="accent1"/>
                </a:solidFill>
              </a:defRPr>
            </a:lvl1pPr>
          </a:lstStyle>
          <a:p>
            <a:r>
              <a:t>What about multiple classes?</a:t>
            </a:r>
          </a:p>
        </p:txBody>
      </p:sp>
      <p:pic>
        <p:nvPicPr>
          <p:cNvPr id="722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113660" y="1525899"/>
            <a:ext cx="1366511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23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003218" y="4452156"/>
            <a:ext cx="1366512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24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9060677" y="3173831"/>
            <a:ext cx="1366512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25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775201" y="1661915"/>
            <a:ext cx="1366511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26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971429" y="3668421"/>
            <a:ext cx="1366512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27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970564" y="5134754"/>
            <a:ext cx="1366512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28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604673" y="4965970"/>
            <a:ext cx="1366512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29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333688" y="2665695"/>
            <a:ext cx="1366512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30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683148" y="4555406"/>
            <a:ext cx="1366512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31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105632" y="1218583"/>
            <a:ext cx="1366512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32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732461" y="1443981"/>
            <a:ext cx="1366511" cy="1465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733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9039662" y="5392596"/>
            <a:ext cx="1366512" cy="1465404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5" name="Shape 735"/>
          <p:cNvSpPr/>
          <p:nvPr/>
        </p:nvSpPr>
        <p:spPr>
          <a:xfrm>
            <a:off x="2137129" y="1109573"/>
            <a:ext cx="8291825" cy="36317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Update each hypothesis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                                                                                                     </a:t>
            </a:r>
            <a:r>
              <a:rPr sz="2400"/>
              <a:t>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C273B0"/>
                </a:solidFill>
              </a:rPr>
              <a:t>Ind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736" name="Shape 736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Straightforward!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Shape 129"/>
          <p:cNvSpPr/>
          <p:nvPr/>
        </p:nvSpPr>
        <p:spPr>
          <a:xfrm>
            <a:off x="2230006" y="570515"/>
            <a:ext cx="8267159" cy="60016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What time is it? Is it 9 AM?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endParaRPr sz="2400"/>
          </a:p>
          <a:p>
            <a:pPr>
              <a:defRPr sz="2400">
                <a:solidFill>
                  <a:schemeClr val="accent1"/>
                </a:solidFill>
              </a:defRPr>
            </a:pPr>
            <a:r>
              <a:rPr sz="2400"/>
              <a:t>H</a:t>
            </a:r>
            <a:r>
              <a:rPr sz="2400" baseline="-25000"/>
              <a:t>1</a:t>
            </a:r>
            <a:r>
              <a:rPr sz="2400"/>
              <a:t> : It is 9 AM  </a:t>
            </a:r>
            <a:r>
              <a:rPr sz="2400">
                <a:solidFill>
                  <a:srgbClr val="BFBFBF"/>
                </a:solidFill>
              </a:rPr>
              <a:t>(9 to 10)</a:t>
            </a:r>
          </a:p>
          <a:p>
            <a:pPr>
              <a:defRPr sz="2400">
                <a:solidFill>
                  <a:srgbClr val="843C0B"/>
                </a:solidFill>
              </a:defRPr>
            </a:pPr>
            <a:r>
              <a:rPr sz="2400"/>
              <a:t>H</a:t>
            </a:r>
            <a:r>
              <a:rPr sz="2400" baseline="-25000"/>
              <a:t>2</a:t>
            </a:r>
            <a:r>
              <a:rPr sz="2400"/>
              <a:t> : It is </a:t>
            </a:r>
            <a:r>
              <a:rPr sz="2400" b="1"/>
              <a:t>not</a:t>
            </a:r>
            <a:r>
              <a:rPr sz="2400"/>
              <a:t> 9 AM</a:t>
            </a:r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r>
              <a:rPr sz="2400"/>
              <a:t>                                                                     </a:t>
            </a:r>
            <a:r>
              <a:rPr sz="2400">
                <a:solidFill>
                  <a:schemeClr val="accent1"/>
                </a:solidFill>
              </a:rPr>
              <a:t>H</a:t>
            </a:r>
            <a:r>
              <a:rPr sz="2400" baseline="-25000">
                <a:solidFill>
                  <a:schemeClr val="accent1"/>
                </a:solidFill>
              </a:rPr>
              <a:t>1                                 </a:t>
            </a:r>
            <a:r>
              <a:rPr sz="2400"/>
              <a:t>H</a:t>
            </a:r>
            <a:r>
              <a:rPr sz="2400" baseline="-25000"/>
              <a:t>2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                                                                           prior dist.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H</a:t>
            </a:r>
            <a:r>
              <a:rPr sz="2400" baseline="-25000">
                <a:solidFill>
                  <a:schemeClr val="accent1"/>
                </a:solidFill>
              </a:rPr>
              <a:t>1</a:t>
            </a:r>
            <a:r>
              <a:rPr sz="2400"/>
              <a:t>) = P(    </a:t>
            </a:r>
            <a:r>
              <a:rPr sz="2400">
                <a:solidFill>
                  <a:schemeClr val="accent1"/>
                </a:solidFill>
              </a:rPr>
              <a:t>9AM   </a:t>
            </a:r>
            <a:r>
              <a:rPr sz="2400"/>
              <a:t>) = 4.16%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P(</a:t>
            </a:r>
            <a:r>
              <a:rPr sz="2400">
                <a:solidFill>
                  <a:srgbClr val="843C0B"/>
                </a:solidFill>
              </a:rPr>
              <a:t>H</a:t>
            </a:r>
            <a:r>
              <a:rPr sz="2400" baseline="-25000">
                <a:solidFill>
                  <a:srgbClr val="843C0B"/>
                </a:solidFill>
              </a:rPr>
              <a:t>2</a:t>
            </a:r>
            <a:r>
              <a:rPr sz="2400"/>
              <a:t>) = P(</a:t>
            </a:r>
            <a:r>
              <a:rPr sz="2400">
                <a:solidFill>
                  <a:srgbClr val="843C0C"/>
                </a:solidFill>
              </a:rPr>
              <a:t>not 9AM</a:t>
            </a:r>
            <a:r>
              <a:rPr sz="2400"/>
              <a:t>) = 95.84%      </a:t>
            </a:r>
          </a:p>
        </p:txBody>
      </p:sp>
      <p:sp>
        <p:nvSpPr>
          <p:cNvPr id="130" name="Shape 130"/>
          <p:cNvSpPr/>
          <p:nvPr/>
        </p:nvSpPr>
        <p:spPr>
          <a:xfrm>
            <a:off x="6361793" y="1797884"/>
            <a:ext cx="10706" cy="266828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31" name="Shape 131"/>
          <p:cNvSpPr/>
          <p:nvPr/>
        </p:nvSpPr>
        <p:spPr>
          <a:xfrm flipH="1" flipV="1">
            <a:off x="6382188" y="4475883"/>
            <a:ext cx="3376050" cy="4559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32" name="Shape 132"/>
          <p:cNvSpPr/>
          <p:nvPr/>
        </p:nvSpPr>
        <p:spPr>
          <a:xfrm>
            <a:off x="6975438" y="4352020"/>
            <a:ext cx="442395" cy="114152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3" name="Shape 133"/>
          <p:cNvSpPr/>
          <p:nvPr/>
        </p:nvSpPr>
        <p:spPr>
          <a:xfrm>
            <a:off x="8768978" y="1740808"/>
            <a:ext cx="442395" cy="273507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4" name="Shape 134"/>
          <p:cNvSpPr/>
          <p:nvPr/>
        </p:nvSpPr>
        <p:spPr>
          <a:xfrm>
            <a:off x="9475606" y="1"/>
            <a:ext cx="1192397" cy="929641"/>
          </a:xfrm>
          <a:prstGeom prst="rect">
            <a:avLst/>
          </a:prstGeom>
          <a:solidFill>
            <a:srgbClr val="38572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4.16%</a:t>
            </a:r>
          </a:p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Right</a:t>
            </a:r>
          </a:p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Time</a:t>
            </a:r>
          </a:p>
        </p:txBody>
      </p:sp>
      <p:sp>
        <p:nvSpPr>
          <p:cNvPr id="135" name="Shape 135"/>
          <p:cNvSpPr/>
          <p:nvPr/>
        </p:nvSpPr>
        <p:spPr>
          <a:xfrm>
            <a:off x="6049462" y="1649726"/>
            <a:ext cx="452548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600">
                <a:solidFill>
                  <a:srgbClr val="595959"/>
                </a:solidFill>
              </a:defRPr>
            </a:lvl1pPr>
          </a:lstStyle>
          <a:p>
            <a:r>
              <a:t>P</a:t>
            </a:r>
          </a:p>
        </p:txBody>
      </p:sp>
      <p:sp>
        <p:nvSpPr>
          <p:cNvPr id="136" name="Shape 136"/>
          <p:cNvSpPr/>
          <p:nvPr/>
        </p:nvSpPr>
        <p:spPr>
          <a:xfrm>
            <a:off x="2224718" y="2540276"/>
            <a:ext cx="3810153" cy="1384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5 train is full</a:t>
            </a:r>
          </a:p>
          <a:p>
            <a:pPr>
              <a:defRPr sz="20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000"/>
          </a:p>
          <a:p>
            <a:pPr>
              <a:defRPr sz="20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000"/>
              <a:t>              </a:t>
            </a:r>
            <a:r>
              <a:rPr sz="2000">
                <a:latin typeface="Adobe Garamond Pro"/>
                <a:ea typeface="Adobe Garamond Pro"/>
                <a:cs typeface="Adobe Garamond Pro"/>
                <a:sym typeface="Adobe Garamond Pro"/>
              </a:rPr>
              <a:t>        </a:t>
            </a:r>
            <a:endParaRPr sz="2200">
              <a:solidFill>
                <a:schemeClr val="accent6"/>
              </a:solidFill>
              <a:latin typeface="Adobe Garamond Pro"/>
              <a:ea typeface="Adobe Garamond Pro"/>
              <a:cs typeface="Adobe Garamond Pro"/>
              <a:sym typeface="Adobe Garamond Pro"/>
            </a:endParaRP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Shape 738"/>
          <p:cNvSpPr/>
          <p:nvPr/>
        </p:nvSpPr>
        <p:spPr>
          <a:xfrm>
            <a:off x="2137129" y="1109573"/>
            <a:ext cx="8291825" cy="36317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Update each hypothesis,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given the values </a:t>
            </a:r>
            <a:r>
              <a:rPr sz="2200">
                <a:solidFill>
                  <a:schemeClr val="accent6"/>
                </a:solidFill>
              </a:rPr>
              <a:t>Yes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Yes</a:t>
            </a:r>
            <a:r>
              <a:rPr sz="2200"/>
              <a:t> and </a:t>
            </a:r>
            <a:r>
              <a:rPr sz="2200">
                <a:solidFill>
                  <a:srgbClr val="33B9C5"/>
                </a:solidFill>
              </a:rPr>
              <a:t>No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on the features </a:t>
            </a:r>
            <a:r>
              <a:rPr sz="2200">
                <a:solidFill>
                  <a:schemeClr val="accent6"/>
                </a:solidFill>
              </a:rPr>
              <a:t>NN</a:t>
            </a:r>
            <a:r>
              <a:rPr sz="2200"/>
              <a:t>, </a:t>
            </a:r>
            <a:r>
              <a:rPr sz="2200">
                <a:solidFill>
                  <a:schemeClr val="accent2"/>
                </a:solidFill>
              </a:rPr>
              <a:t>TC </a:t>
            </a:r>
            <a:r>
              <a:rPr sz="2200"/>
              <a:t>and </a:t>
            </a:r>
            <a:r>
              <a:rPr sz="2200">
                <a:solidFill>
                  <a:srgbClr val="33B9C5"/>
                </a:solidFill>
              </a:rPr>
              <a:t>LG</a:t>
            </a:r>
            <a:r>
              <a:rPr sz="2200"/>
              <a:t> </a:t>
            </a: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chemeClr val="accent1"/>
                </a:solidFill>
              </a:rPr>
              <a:t>Dem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                                                                                                      </a:t>
            </a:r>
            <a:r>
              <a:rPr sz="2400"/>
              <a:t> 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D03643"/>
                </a:solidFill>
              </a:rPr>
              <a:t>R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P(</a:t>
            </a:r>
            <a:r>
              <a:rPr sz="2200">
                <a:solidFill>
                  <a:srgbClr val="C273B0"/>
                </a:solidFill>
              </a:rPr>
              <a:t>Indep</a:t>
            </a:r>
            <a:r>
              <a:rPr sz="2200"/>
              <a:t>|</a:t>
            </a:r>
            <a:r>
              <a:rPr sz="2200">
                <a:solidFill>
                  <a:schemeClr val="accent6"/>
                </a:solidFill>
              </a:rPr>
              <a:t>Y</a:t>
            </a:r>
            <a:r>
              <a:rPr sz="2200" baseline="-25000">
                <a:solidFill>
                  <a:schemeClr val="accent6"/>
                </a:solidFill>
              </a:rPr>
              <a:t>NN</a:t>
            </a:r>
            <a:r>
              <a:rPr sz="2200"/>
              <a:t>,</a:t>
            </a:r>
            <a:r>
              <a:rPr sz="2200">
                <a:solidFill>
                  <a:schemeClr val="accent2"/>
                </a:solidFill>
              </a:rPr>
              <a:t>Y</a:t>
            </a:r>
            <a:r>
              <a:rPr sz="2200" baseline="-25000">
                <a:solidFill>
                  <a:schemeClr val="accent2"/>
                </a:solidFill>
              </a:rPr>
              <a:t>TC</a:t>
            </a:r>
            <a:r>
              <a:rPr sz="2200"/>
              <a:t>,</a:t>
            </a:r>
            <a:r>
              <a:rPr sz="2200">
                <a:solidFill>
                  <a:srgbClr val="33B9C5"/>
                </a:solidFill>
              </a:rPr>
              <a:t>N</a:t>
            </a:r>
            <a:r>
              <a:rPr sz="2200" baseline="-25000">
                <a:solidFill>
                  <a:srgbClr val="33B9C5"/>
                </a:solidFill>
              </a:rPr>
              <a:t>LG</a:t>
            </a:r>
            <a:r>
              <a:rPr sz="22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739" name="Shape 739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Straightforward!</a:t>
            </a:r>
          </a:p>
        </p:txBody>
      </p:sp>
      <p:sp>
        <p:nvSpPr>
          <p:cNvPr id="740" name="Shape 740"/>
          <p:cNvSpPr/>
          <p:nvPr/>
        </p:nvSpPr>
        <p:spPr>
          <a:xfrm flipH="1">
            <a:off x="7355221" y="4365166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41" name="Shape 741"/>
          <p:cNvSpPr/>
          <p:nvPr/>
        </p:nvSpPr>
        <p:spPr>
          <a:xfrm flipH="1">
            <a:off x="7348714" y="6452860"/>
            <a:ext cx="2832069" cy="2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42" name="Shape 742"/>
          <p:cNvSpPr/>
          <p:nvPr/>
        </p:nvSpPr>
        <p:spPr>
          <a:xfrm>
            <a:off x="7622407" y="6014883"/>
            <a:ext cx="442395" cy="42217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43" name="Shape 743"/>
          <p:cNvSpPr/>
          <p:nvPr/>
        </p:nvSpPr>
        <p:spPr>
          <a:xfrm>
            <a:off x="8510870" y="5562315"/>
            <a:ext cx="442395" cy="88445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44" name="Shape 744"/>
          <p:cNvSpPr/>
          <p:nvPr/>
        </p:nvSpPr>
        <p:spPr>
          <a:xfrm>
            <a:off x="7509291" y="6302746"/>
            <a:ext cx="2510913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         </a:t>
            </a:r>
            <a:r>
              <a:rPr sz="2400">
                <a:solidFill>
                  <a:srgbClr val="C273B0"/>
                </a:solidFill>
              </a:rPr>
              <a:t>H</a:t>
            </a:r>
            <a:r>
              <a:rPr sz="2400" baseline="-25000">
                <a:solidFill>
                  <a:srgbClr val="C273B0"/>
                </a:solidFill>
              </a:rPr>
              <a:t>3</a:t>
            </a:r>
            <a:r>
              <a:rPr sz="2400" baseline="-25000">
                <a:solidFill>
                  <a:srgbClr val="D03643"/>
                </a:solidFill>
              </a:rPr>
              <a:t>  </a:t>
            </a:r>
          </a:p>
        </p:txBody>
      </p:sp>
      <p:sp>
        <p:nvSpPr>
          <p:cNvPr id="745" name="Shape 745"/>
          <p:cNvSpPr/>
          <p:nvPr/>
        </p:nvSpPr>
        <p:spPr>
          <a:xfrm>
            <a:off x="7596883" y="5927267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23</a:t>
            </a:r>
          </a:p>
        </p:txBody>
      </p:sp>
      <p:sp>
        <p:nvSpPr>
          <p:cNvPr id="746" name="Shape 746"/>
          <p:cNvSpPr/>
          <p:nvPr/>
        </p:nvSpPr>
        <p:spPr>
          <a:xfrm>
            <a:off x="8464585" y="5524904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48</a:t>
            </a:r>
          </a:p>
        </p:txBody>
      </p:sp>
      <p:sp>
        <p:nvSpPr>
          <p:cNvPr id="747" name="Shape 747"/>
          <p:cNvSpPr/>
          <p:nvPr/>
        </p:nvSpPr>
        <p:spPr>
          <a:xfrm>
            <a:off x="9378586" y="5912700"/>
            <a:ext cx="442395" cy="525881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48" name="Shape 748"/>
          <p:cNvSpPr/>
          <p:nvPr/>
        </p:nvSpPr>
        <p:spPr>
          <a:xfrm>
            <a:off x="9332287" y="5837893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29</a:t>
            </a:r>
          </a:p>
        </p:txBody>
      </p:sp>
      <p:sp>
        <p:nvSpPr>
          <p:cNvPr id="749" name="Shape 749"/>
          <p:cNvSpPr/>
          <p:nvPr/>
        </p:nvSpPr>
        <p:spPr>
          <a:xfrm>
            <a:off x="8049435" y="4233784"/>
            <a:ext cx="1377714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BF900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posterior distribution</a:t>
            </a:r>
          </a:p>
        </p:txBody>
      </p:sp>
      <p:sp>
        <p:nvSpPr>
          <p:cNvPr id="750" name="Shape 750"/>
          <p:cNvSpPr/>
          <p:nvPr/>
        </p:nvSpPr>
        <p:spPr>
          <a:xfrm flipH="1">
            <a:off x="2354428" y="4371571"/>
            <a:ext cx="8060" cy="2071896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51" name="Shape 751"/>
          <p:cNvSpPr/>
          <p:nvPr/>
        </p:nvSpPr>
        <p:spPr>
          <a:xfrm flipH="1">
            <a:off x="2347920" y="6459265"/>
            <a:ext cx="2832069" cy="2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52" name="Shape 752"/>
          <p:cNvSpPr/>
          <p:nvPr/>
        </p:nvSpPr>
        <p:spPr>
          <a:xfrm>
            <a:off x="2621612" y="5503917"/>
            <a:ext cx="442395" cy="939548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53" name="Shape 753"/>
          <p:cNvSpPr/>
          <p:nvPr/>
        </p:nvSpPr>
        <p:spPr>
          <a:xfrm>
            <a:off x="3510077" y="5766707"/>
            <a:ext cx="442395" cy="686471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54" name="Shape 754"/>
          <p:cNvSpPr/>
          <p:nvPr/>
        </p:nvSpPr>
        <p:spPr>
          <a:xfrm>
            <a:off x="2508495" y="6309151"/>
            <a:ext cx="2510914" cy="4455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ctr">
              <a:lnSpc>
                <a:spcPts val="3800"/>
              </a:lnSpc>
              <a:defRPr sz="2400" spc="-10">
                <a:solidFill>
                  <a:srgbClr val="33B9C5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H</a:t>
            </a:r>
            <a:r>
              <a:rPr sz="2400" baseline="-25000"/>
              <a:t>1         </a:t>
            </a:r>
            <a:r>
              <a:rPr sz="2400"/>
              <a:t> </a:t>
            </a:r>
            <a:r>
              <a:rPr sz="2400">
                <a:solidFill>
                  <a:srgbClr val="D03643"/>
                </a:solidFill>
              </a:rPr>
              <a:t>H</a:t>
            </a:r>
            <a:r>
              <a:rPr sz="2400" baseline="-25000">
                <a:solidFill>
                  <a:srgbClr val="D03643"/>
                </a:solidFill>
              </a:rPr>
              <a:t>2         </a:t>
            </a:r>
            <a:r>
              <a:rPr sz="2400">
                <a:solidFill>
                  <a:srgbClr val="C273B0"/>
                </a:solidFill>
              </a:rPr>
              <a:t>H</a:t>
            </a:r>
            <a:r>
              <a:rPr sz="2400" baseline="-25000">
                <a:solidFill>
                  <a:srgbClr val="C273B0"/>
                </a:solidFill>
              </a:rPr>
              <a:t>3</a:t>
            </a:r>
            <a:r>
              <a:rPr sz="2400" baseline="-25000">
                <a:solidFill>
                  <a:srgbClr val="D03643"/>
                </a:solidFill>
              </a:rPr>
              <a:t>  </a:t>
            </a:r>
          </a:p>
        </p:txBody>
      </p:sp>
      <p:sp>
        <p:nvSpPr>
          <p:cNvPr id="755" name="Shape 755"/>
          <p:cNvSpPr/>
          <p:nvPr/>
        </p:nvSpPr>
        <p:spPr>
          <a:xfrm>
            <a:off x="2596090" y="5437305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52</a:t>
            </a:r>
          </a:p>
        </p:txBody>
      </p:sp>
      <p:sp>
        <p:nvSpPr>
          <p:cNvPr id="756" name="Shape 756"/>
          <p:cNvSpPr/>
          <p:nvPr/>
        </p:nvSpPr>
        <p:spPr>
          <a:xfrm>
            <a:off x="3463792" y="5706498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38</a:t>
            </a:r>
          </a:p>
        </p:txBody>
      </p:sp>
      <p:sp>
        <p:nvSpPr>
          <p:cNvPr id="757" name="Shape 757"/>
          <p:cNvSpPr/>
          <p:nvPr/>
        </p:nvSpPr>
        <p:spPr>
          <a:xfrm>
            <a:off x="4377793" y="6263081"/>
            <a:ext cx="442395" cy="181905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58" name="Shape 758"/>
          <p:cNvSpPr/>
          <p:nvPr/>
        </p:nvSpPr>
        <p:spPr>
          <a:xfrm>
            <a:off x="4331493" y="6136279"/>
            <a:ext cx="48174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FFFFFF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.10</a:t>
            </a:r>
          </a:p>
        </p:txBody>
      </p:sp>
      <p:sp>
        <p:nvSpPr>
          <p:cNvPr id="759" name="Shape 759"/>
          <p:cNvSpPr/>
          <p:nvPr/>
        </p:nvSpPr>
        <p:spPr>
          <a:xfrm>
            <a:off x="3048642" y="4240189"/>
            <a:ext cx="1377714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847FC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prior distribution</a:t>
            </a:r>
          </a:p>
        </p:txBody>
      </p:sp>
      <p:sp>
        <p:nvSpPr>
          <p:cNvPr id="760" name="Shape 760"/>
          <p:cNvSpPr/>
          <p:nvPr/>
        </p:nvSpPr>
        <p:spPr>
          <a:xfrm>
            <a:off x="5480135" y="5547718"/>
            <a:ext cx="1138667" cy="1"/>
          </a:xfrm>
          <a:prstGeom prst="line">
            <a:avLst/>
          </a:prstGeom>
          <a:ln w="76200">
            <a:solidFill>
              <a:srgbClr val="385724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" name="Shape 762"/>
          <p:cNvSpPr/>
          <p:nvPr/>
        </p:nvSpPr>
        <p:spPr>
          <a:xfrm>
            <a:off x="3320602" y="556709"/>
            <a:ext cx="555079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3200">
                <a:solidFill>
                  <a:schemeClr val="accent1"/>
                </a:solidFill>
              </a:defRPr>
            </a:lvl1pPr>
          </a:lstStyle>
          <a:p>
            <a:r>
              <a:t>How about numeric features?</a:t>
            </a:r>
          </a:p>
        </p:txBody>
      </p:sp>
      <p:pic>
        <p:nvPicPr>
          <p:cNvPr id="763" name="image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916565" y="2898228"/>
            <a:ext cx="3341989" cy="358384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69" name="Group 769"/>
          <p:cNvGrpSpPr/>
          <p:nvPr/>
        </p:nvGrpSpPr>
        <p:grpSpPr>
          <a:xfrm>
            <a:off x="5254279" y="1771838"/>
            <a:ext cx="4212640" cy="1652923"/>
            <a:chOff x="0" y="0"/>
            <a:chExt cx="4212639" cy="1652922"/>
          </a:xfrm>
        </p:grpSpPr>
        <p:sp>
          <p:nvSpPr>
            <p:cNvPr id="764" name="Shape 764"/>
            <p:cNvSpPr/>
            <p:nvPr/>
          </p:nvSpPr>
          <p:spPr>
            <a:xfrm>
              <a:off x="1172169" y="0"/>
              <a:ext cx="3040471" cy="16529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79" h="20684" extrusionOk="0">
                  <a:moveTo>
                    <a:pt x="1901" y="6800"/>
                  </a:moveTo>
                  <a:cubicBezTo>
                    <a:pt x="1658" y="4397"/>
                    <a:pt x="2907" y="2184"/>
                    <a:pt x="4691" y="1857"/>
                  </a:cubicBezTo>
                  <a:cubicBezTo>
                    <a:pt x="5414" y="1724"/>
                    <a:pt x="6149" y="1922"/>
                    <a:pt x="6778" y="2419"/>
                  </a:cubicBezTo>
                  <a:cubicBezTo>
                    <a:pt x="7445" y="725"/>
                    <a:pt x="9003" y="82"/>
                    <a:pt x="10259" y="981"/>
                  </a:cubicBezTo>
                  <a:cubicBezTo>
                    <a:pt x="10478" y="1139"/>
                    <a:pt x="10680" y="1338"/>
                    <a:pt x="10857" y="1573"/>
                  </a:cubicBezTo>
                  <a:lnTo>
                    <a:pt x="10857" y="1573"/>
                  </a:lnTo>
                  <a:cubicBezTo>
                    <a:pt x="11377" y="169"/>
                    <a:pt x="12642" y="-401"/>
                    <a:pt x="13683" y="299"/>
                  </a:cubicBezTo>
                  <a:cubicBezTo>
                    <a:pt x="13971" y="493"/>
                    <a:pt x="14223" y="774"/>
                    <a:pt x="14418" y="1119"/>
                  </a:cubicBezTo>
                  <a:cubicBezTo>
                    <a:pt x="15255" y="-209"/>
                    <a:pt x="16734" y="-373"/>
                    <a:pt x="17722" y="753"/>
                  </a:cubicBezTo>
                  <a:cubicBezTo>
                    <a:pt x="18137" y="1226"/>
                    <a:pt x="18417" y="1878"/>
                    <a:pt x="18513" y="2598"/>
                  </a:cubicBezTo>
                  <a:lnTo>
                    <a:pt x="18513" y="2598"/>
                  </a:lnTo>
                  <a:cubicBezTo>
                    <a:pt x="19885" y="3102"/>
                    <a:pt x="20694" y="5013"/>
                    <a:pt x="20321" y="6865"/>
                  </a:cubicBezTo>
                  <a:cubicBezTo>
                    <a:pt x="20289" y="7020"/>
                    <a:pt x="20250" y="7173"/>
                    <a:pt x="20203" y="7321"/>
                  </a:cubicBezTo>
                  <a:cubicBezTo>
                    <a:pt x="21303" y="9251"/>
                    <a:pt x="21034" y="12017"/>
                    <a:pt x="19601" y="13499"/>
                  </a:cubicBezTo>
                  <a:cubicBezTo>
                    <a:pt x="19156" y="13961"/>
                    <a:pt x="18629" y="14259"/>
                    <a:pt x="18072" y="14367"/>
                  </a:cubicBezTo>
                  <a:cubicBezTo>
                    <a:pt x="18072" y="16443"/>
                    <a:pt x="16822" y="18126"/>
                    <a:pt x="15280" y="18126"/>
                  </a:cubicBezTo>
                  <a:cubicBezTo>
                    <a:pt x="14757" y="18126"/>
                    <a:pt x="14245" y="17928"/>
                    <a:pt x="13801" y="17556"/>
                  </a:cubicBezTo>
                  <a:cubicBezTo>
                    <a:pt x="13280" y="19883"/>
                    <a:pt x="11460" y="21199"/>
                    <a:pt x="9738" y="20494"/>
                  </a:cubicBezTo>
                  <a:cubicBezTo>
                    <a:pt x="9016" y="20199"/>
                    <a:pt x="8392" y="19574"/>
                    <a:pt x="7973" y="18727"/>
                  </a:cubicBezTo>
                  <a:cubicBezTo>
                    <a:pt x="6209" y="20160"/>
                    <a:pt x="3920" y="19389"/>
                    <a:pt x="2859" y="17004"/>
                  </a:cubicBezTo>
                  <a:cubicBezTo>
                    <a:pt x="2846" y="16974"/>
                    <a:pt x="2833" y="16944"/>
                    <a:pt x="2820" y="16914"/>
                  </a:cubicBezTo>
                  <a:lnTo>
                    <a:pt x="2820" y="16914"/>
                  </a:lnTo>
                  <a:cubicBezTo>
                    <a:pt x="1666" y="17096"/>
                    <a:pt x="620" y="15986"/>
                    <a:pt x="485" y="14435"/>
                  </a:cubicBezTo>
                  <a:cubicBezTo>
                    <a:pt x="412" y="13608"/>
                    <a:pt x="615" y="12780"/>
                    <a:pt x="1038" y="12172"/>
                  </a:cubicBezTo>
                  <a:lnTo>
                    <a:pt x="1038" y="12172"/>
                  </a:lnTo>
                  <a:cubicBezTo>
                    <a:pt x="39" y="11379"/>
                    <a:pt x="-297" y="9639"/>
                    <a:pt x="288" y="8285"/>
                  </a:cubicBezTo>
                  <a:cubicBezTo>
                    <a:pt x="626" y="7504"/>
                    <a:pt x="1218" y="6988"/>
                    <a:pt x="1883" y="689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765" name="Shape 765"/>
            <p:cNvSpPr/>
            <p:nvPr/>
          </p:nvSpPr>
          <p:spPr>
            <a:xfrm>
              <a:off x="802302" y="1171549"/>
              <a:ext cx="274953" cy="274953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766" name="Shape 766"/>
            <p:cNvSpPr/>
            <p:nvPr/>
          </p:nvSpPr>
          <p:spPr>
            <a:xfrm>
              <a:off x="357013" y="1354495"/>
              <a:ext cx="183303" cy="183303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767" name="Shape 767"/>
            <p:cNvSpPr/>
            <p:nvPr/>
          </p:nvSpPr>
          <p:spPr>
            <a:xfrm>
              <a:off x="0" y="1512794"/>
              <a:ext cx="91651" cy="91651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768" name="Shape 768"/>
            <p:cNvSpPr/>
            <p:nvPr/>
          </p:nvSpPr>
          <p:spPr>
            <a:xfrm>
              <a:off x="1326558" y="84049"/>
              <a:ext cx="2786086" cy="14033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" y="14010"/>
                  </a:moveTo>
                  <a:cubicBezTo>
                    <a:pt x="899" y="14066"/>
                    <a:pt x="417" y="13902"/>
                    <a:pt x="0" y="13542"/>
                  </a:cubicBezTo>
                  <a:moveTo>
                    <a:pt x="2598" y="19137"/>
                  </a:moveTo>
                  <a:cubicBezTo>
                    <a:pt x="2405" y="19250"/>
                    <a:pt x="2202" y="19325"/>
                    <a:pt x="1994" y="19361"/>
                  </a:cubicBezTo>
                  <a:moveTo>
                    <a:pt x="7802" y="21600"/>
                  </a:moveTo>
                  <a:lnTo>
                    <a:pt x="7802" y="21600"/>
                  </a:lnTo>
                  <a:cubicBezTo>
                    <a:pt x="7657" y="21279"/>
                    <a:pt x="7535" y="20936"/>
                    <a:pt x="7438" y="20577"/>
                  </a:cubicBezTo>
                  <a:moveTo>
                    <a:pt x="14532" y="19050"/>
                  </a:moveTo>
                  <a:cubicBezTo>
                    <a:pt x="14510" y="19430"/>
                    <a:pt x="14462" y="19806"/>
                    <a:pt x="14386" y="20172"/>
                  </a:cubicBezTo>
                  <a:moveTo>
                    <a:pt x="17421" y="12116"/>
                  </a:moveTo>
                  <a:cubicBezTo>
                    <a:pt x="18505" y="12890"/>
                    <a:pt x="19193" y="14504"/>
                    <a:pt x="19193" y="16273"/>
                  </a:cubicBezTo>
                  <a:moveTo>
                    <a:pt x="21600" y="7649"/>
                  </a:moveTo>
                  <a:cubicBezTo>
                    <a:pt x="21423" y="8256"/>
                    <a:pt x="21153" y="8794"/>
                    <a:pt x="20811" y="9222"/>
                  </a:cubicBezTo>
                  <a:moveTo>
                    <a:pt x="19707" y="1814"/>
                  </a:moveTo>
                  <a:cubicBezTo>
                    <a:pt x="19737" y="2059"/>
                    <a:pt x="19751" y="2307"/>
                    <a:pt x="19749" y="2556"/>
                  </a:cubicBezTo>
                  <a:moveTo>
                    <a:pt x="14668" y="947"/>
                  </a:moveTo>
                  <a:cubicBezTo>
                    <a:pt x="14771" y="605"/>
                    <a:pt x="14907" y="286"/>
                    <a:pt x="15073" y="0"/>
                  </a:cubicBezTo>
                  <a:moveTo>
                    <a:pt x="10888" y="1399"/>
                  </a:moveTo>
                  <a:cubicBezTo>
                    <a:pt x="10930" y="1115"/>
                    <a:pt x="10996" y="841"/>
                    <a:pt x="11084" y="582"/>
                  </a:cubicBezTo>
                  <a:moveTo>
                    <a:pt x="6452" y="1676"/>
                  </a:moveTo>
                  <a:cubicBezTo>
                    <a:pt x="6709" y="1897"/>
                    <a:pt x="6947" y="2163"/>
                    <a:pt x="7160" y="2469"/>
                  </a:cubicBezTo>
                  <a:moveTo>
                    <a:pt x="1072" y="7905"/>
                  </a:moveTo>
                  <a:lnTo>
                    <a:pt x="1072" y="7905"/>
                  </a:lnTo>
                  <a:cubicBezTo>
                    <a:pt x="1016" y="7632"/>
                    <a:pt x="974" y="7353"/>
                    <a:pt x="948" y="7071"/>
                  </a:cubicBezTo>
                </a:path>
              </a:pathLst>
            </a:custGeom>
            <a:noFill/>
            <a:ln w="12700" cap="flat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/>
            </a:p>
          </p:txBody>
        </p:sp>
      </p:grpSp>
      <p:sp>
        <p:nvSpPr>
          <p:cNvPr id="770" name="Shape 770"/>
          <p:cNvSpPr/>
          <p:nvPr/>
        </p:nvSpPr>
        <p:spPr>
          <a:xfrm>
            <a:off x="7085947" y="2394279"/>
            <a:ext cx="30656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>
                <a:solidFill>
                  <a:srgbClr val="847FC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3</a:t>
            </a:r>
          </a:p>
        </p:txBody>
      </p:sp>
      <p:sp>
        <p:nvSpPr>
          <p:cNvPr id="771" name="Shape 771"/>
          <p:cNvSpPr/>
          <p:nvPr/>
        </p:nvSpPr>
        <p:spPr>
          <a:xfrm>
            <a:off x="7895271" y="2692668"/>
            <a:ext cx="1409618" cy="3708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>
                <a:solidFill>
                  <a:srgbClr val="847FC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28736.123</a:t>
            </a:r>
          </a:p>
        </p:txBody>
      </p:sp>
      <p:sp>
        <p:nvSpPr>
          <p:cNvPr id="772" name="Shape 772"/>
          <p:cNvSpPr/>
          <p:nvPr/>
        </p:nvSpPr>
        <p:spPr>
          <a:xfrm>
            <a:off x="7551328" y="1969116"/>
            <a:ext cx="30656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>
                <a:solidFill>
                  <a:srgbClr val="847FC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5</a:t>
            </a:r>
          </a:p>
        </p:txBody>
      </p:sp>
      <p:sp>
        <p:nvSpPr>
          <p:cNvPr id="773" name="Shape 773"/>
          <p:cNvSpPr/>
          <p:nvPr/>
        </p:nvSpPr>
        <p:spPr>
          <a:xfrm>
            <a:off x="7966496" y="2106916"/>
            <a:ext cx="491689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>
                <a:solidFill>
                  <a:srgbClr val="847FC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17</a:t>
            </a:r>
          </a:p>
        </p:txBody>
      </p:sp>
      <p:sp>
        <p:nvSpPr>
          <p:cNvPr id="774" name="Shape 774"/>
          <p:cNvSpPr/>
          <p:nvPr/>
        </p:nvSpPr>
        <p:spPr>
          <a:xfrm>
            <a:off x="8440057" y="2084125"/>
            <a:ext cx="718844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>
                <a:solidFill>
                  <a:srgbClr val="847FC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1/4</a:t>
            </a:r>
          </a:p>
        </p:txBody>
      </p:sp>
      <p:sp>
        <p:nvSpPr>
          <p:cNvPr id="775" name="Shape 775"/>
          <p:cNvSpPr/>
          <p:nvPr/>
        </p:nvSpPr>
        <p:spPr>
          <a:xfrm>
            <a:off x="7478335" y="2509292"/>
            <a:ext cx="51270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>
                <a:solidFill>
                  <a:srgbClr val="847FC0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lvl1pPr>
          </a:lstStyle>
          <a:p>
            <a:r>
              <a:t>99</a:t>
            </a: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" name="Shape 777"/>
          <p:cNvSpPr/>
          <p:nvPr/>
        </p:nvSpPr>
        <p:spPr>
          <a:xfrm>
            <a:off x="2137129" y="1109572"/>
            <a:ext cx="8291825" cy="24929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Instead of  P(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|</a:t>
            </a:r>
            <a:r>
              <a:rPr sz="2400">
                <a:solidFill>
                  <a:schemeClr val="accent1"/>
                </a:solidFill>
              </a:rPr>
              <a:t>Dem</a:t>
            </a:r>
            <a:r>
              <a:rPr sz="2400"/>
              <a:t>) or P(</a:t>
            </a:r>
            <a:r>
              <a:rPr sz="2400">
                <a:solidFill>
                  <a:schemeClr val="accent6"/>
                </a:solidFill>
              </a:rPr>
              <a:t>N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|</a:t>
            </a:r>
            <a:r>
              <a:rPr sz="2400">
                <a:solidFill>
                  <a:schemeClr val="accent1"/>
                </a:solidFill>
              </a:rPr>
              <a:t>Dem</a:t>
            </a:r>
            <a:r>
              <a:rPr sz="2400"/>
              <a:t>),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you get a function  P(</a:t>
            </a:r>
            <a:r>
              <a:rPr sz="2400">
                <a:solidFill>
                  <a:schemeClr val="accent6"/>
                </a:solidFill>
              </a:rPr>
              <a:t>age</a:t>
            </a:r>
            <a:r>
              <a:rPr sz="2400"/>
              <a:t>=x | </a:t>
            </a:r>
            <a:r>
              <a:rPr sz="2400">
                <a:solidFill>
                  <a:schemeClr val="accent1"/>
                </a:solidFill>
              </a:rPr>
              <a:t>Dem</a:t>
            </a:r>
            <a:r>
              <a:rPr sz="2400"/>
              <a:t>)</a:t>
            </a:r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778" name="Shape 778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Fit a likelihood function!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Shape 780"/>
          <p:cNvSpPr/>
          <p:nvPr/>
        </p:nvSpPr>
        <p:spPr>
          <a:xfrm>
            <a:off x="2137129" y="1109572"/>
            <a:ext cx="8291825" cy="39703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Instead of  P(</a:t>
            </a:r>
            <a:r>
              <a:rPr sz="2400">
                <a:solidFill>
                  <a:schemeClr val="accent6"/>
                </a:solidFill>
              </a:rPr>
              <a:t>Y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|</a:t>
            </a:r>
            <a:r>
              <a:rPr sz="2400">
                <a:solidFill>
                  <a:schemeClr val="accent1"/>
                </a:solidFill>
              </a:rPr>
              <a:t>Dem</a:t>
            </a:r>
            <a:r>
              <a:rPr sz="2400"/>
              <a:t>) or P(</a:t>
            </a:r>
            <a:r>
              <a:rPr sz="2400">
                <a:solidFill>
                  <a:schemeClr val="accent6"/>
                </a:solidFill>
              </a:rPr>
              <a:t>N</a:t>
            </a:r>
            <a:r>
              <a:rPr sz="2400" baseline="-25000">
                <a:solidFill>
                  <a:schemeClr val="accent6"/>
                </a:solidFill>
              </a:rPr>
              <a:t>NN</a:t>
            </a:r>
            <a:r>
              <a:rPr sz="2400"/>
              <a:t>|</a:t>
            </a:r>
            <a:r>
              <a:rPr sz="2400">
                <a:solidFill>
                  <a:schemeClr val="accent1"/>
                </a:solidFill>
              </a:rPr>
              <a:t>Dem</a:t>
            </a:r>
            <a:r>
              <a:rPr sz="2400"/>
              <a:t>),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you get a function  P(</a:t>
            </a:r>
            <a:r>
              <a:rPr sz="2400">
                <a:solidFill>
                  <a:schemeClr val="accent6"/>
                </a:solidFill>
              </a:rPr>
              <a:t>age</a:t>
            </a:r>
            <a:r>
              <a:rPr sz="2400"/>
              <a:t>=x | </a:t>
            </a:r>
            <a:r>
              <a:rPr sz="2400">
                <a:solidFill>
                  <a:schemeClr val="accent1"/>
                </a:solidFill>
              </a:rPr>
              <a:t>Dem</a:t>
            </a:r>
            <a:r>
              <a:rPr sz="2400"/>
              <a:t>)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Look at the training set, fit a Gaussian distribution to P(</a:t>
            </a:r>
            <a:r>
              <a:rPr sz="2400">
                <a:solidFill>
                  <a:schemeClr val="accent6"/>
                </a:solidFill>
              </a:rPr>
              <a:t>age</a:t>
            </a:r>
            <a:r>
              <a:rPr sz="2400"/>
              <a:t>=x|</a:t>
            </a:r>
            <a:r>
              <a:rPr sz="2400">
                <a:solidFill>
                  <a:schemeClr val="accent1"/>
                </a:solidFill>
              </a:rPr>
              <a:t>Dem</a:t>
            </a:r>
            <a:r>
              <a:rPr sz="2400"/>
              <a:t>)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Use this Gaussian likelihood when predicting.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5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500"/>
          </a:p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781" name="Shape 781"/>
          <p:cNvSpPr/>
          <p:nvPr/>
        </p:nvSpPr>
        <p:spPr>
          <a:xfrm>
            <a:off x="2081784" y="438913"/>
            <a:ext cx="79634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t>Fit a likelihood function!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" name="Shape 783"/>
          <p:cNvSpPr/>
          <p:nvPr/>
        </p:nvSpPr>
        <p:spPr>
          <a:xfrm>
            <a:off x="2137129" y="1109572"/>
            <a:ext cx="7492674" cy="37856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Flavors of Bayes in </a:t>
            </a:r>
            <a:r>
              <a:rPr sz="2400">
                <a:latin typeface="Courier New"/>
                <a:ea typeface="Courier New"/>
                <a:cs typeface="Courier New"/>
                <a:sym typeface="Courier New"/>
              </a:rPr>
              <a:t>sklearn</a:t>
            </a:r>
            <a:r>
              <a:rPr sz="2400"/>
              <a:t>: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Numeric Features:</a:t>
            </a:r>
          </a:p>
          <a:p>
            <a:pPr>
              <a:defRPr sz="2400">
                <a:solidFill>
                  <a:schemeClr val="accent5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Gaussian Naïve Bayes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Features that are 0 or 1 (and both matter):</a:t>
            </a:r>
            <a:br>
              <a:rPr sz="2400"/>
            </a:br>
            <a:r>
              <a:rPr sz="2400">
                <a:solidFill>
                  <a:schemeClr val="accent2"/>
                </a:solidFill>
              </a:rPr>
              <a:t>Bernoulli Naïve Bayes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>
              <a:solidFill>
                <a:schemeClr val="accent2"/>
              </a:solidFill>
            </a:endParaRP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Features that are count-like (and only non-zero matters):</a:t>
            </a:r>
          </a:p>
          <a:p>
            <a:pPr>
              <a:defRPr sz="24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Multinomial Naïve Bayes</a:t>
            </a: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" name="Shape 785"/>
          <p:cNvSpPr/>
          <p:nvPr/>
        </p:nvSpPr>
        <p:spPr>
          <a:xfrm>
            <a:off x="2137129" y="1109572"/>
            <a:ext cx="7492674" cy="37856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Flavors of Bayes in </a:t>
            </a:r>
            <a:r>
              <a:rPr sz="2400">
                <a:latin typeface="Courier New"/>
                <a:ea typeface="Courier New"/>
                <a:cs typeface="Courier New"/>
                <a:sym typeface="Courier New"/>
              </a:rPr>
              <a:t>sklearn</a:t>
            </a:r>
            <a:r>
              <a:rPr sz="2400"/>
              <a:t>: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Numeric Features:</a:t>
            </a:r>
          </a:p>
          <a:p>
            <a:pPr>
              <a:defRPr sz="2400">
                <a:solidFill>
                  <a:schemeClr val="accent5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Gaussian Naïve Bayes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/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Features that are 0 or 1 (and both matter):</a:t>
            </a:r>
            <a:br>
              <a:rPr sz="2400"/>
            </a:br>
            <a:r>
              <a:rPr sz="2400">
                <a:solidFill>
                  <a:schemeClr val="accent2"/>
                </a:solidFill>
              </a:rPr>
              <a:t>Bernoulli Naïve Bayes</a:t>
            </a: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400">
              <a:solidFill>
                <a:schemeClr val="accent2"/>
              </a:solidFill>
            </a:endParaRPr>
          </a:p>
          <a:p>
            <a:pPr>
              <a:defRPr sz="24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Features that are count-like (and only non-zero matters):</a:t>
            </a:r>
          </a:p>
          <a:p>
            <a:pPr>
              <a:defRPr sz="2400">
                <a:solidFill>
                  <a:srgbClr val="D03643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400"/>
              <a:t>Multinomial Naïve Bayes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Shape 138"/>
          <p:cNvSpPr/>
          <p:nvPr/>
        </p:nvSpPr>
        <p:spPr>
          <a:xfrm>
            <a:off x="2230006" y="570515"/>
            <a:ext cx="8267159" cy="60016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What time is it? Is it 9 AM?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endParaRPr sz="2400"/>
          </a:p>
          <a:p>
            <a:pPr>
              <a:defRPr sz="2400">
                <a:solidFill>
                  <a:schemeClr val="accent1"/>
                </a:solidFill>
              </a:defRPr>
            </a:pPr>
            <a:r>
              <a:rPr sz="2400"/>
              <a:t>H</a:t>
            </a:r>
            <a:r>
              <a:rPr sz="2400" baseline="-25000"/>
              <a:t>1</a:t>
            </a:r>
            <a:r>
              <a:rPr sz="2400"/>
              <a:t> : It is 9 AM  </a:t>
            </a:r>
            <a:r>
              <a:rPr sz="2400">
                <a:solidFill>
                  <a:srgbClr val="BFBFBF"/>
                </a:solidFill>
              </a:rPr>
              <a:t>(9 to 10)</a:t>
            </a:r>
          </a:p>
          <a:p>
            <a:pPr>
              <a:defRPr sz="2400">
                <a:solidFill>
                  <a:srgbClr val="843C0B"/>
                </a:solidFill>
              </a:defRPr>
            </a:pPr>
            <a:r>
              <a:rPr sz="2400"/>
              <a:t>H</a:t>
            </a:r>
            <a:r>
              <a:rPr sz="2400" baseline="-25000"/>
              <a:t>2</a:t>
            </a:r>
            <a:r>
              <a:rPr sz="2400"/>
              <a:t> : It is </a:t>
            </a:r>
            <a:r>
              <a:rPr sz="2400" b="1"/>
              <a:t>not</a:t>
            </a:r>
            <a:r>
              <a:rPr sz="2400"/>
              <a:t> 9 AM</a:t>
            </a:r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r>
              <a:rPr sz="2400"/>
              <a:t>                                                                     </a:t>
            </a:r>
            <a:r>
              <a:rPr sz="2400">
                <a:solidFill>
                  <a:schemeClr val="accent1"/>
                </a:solidFill>
              </a:rPr>
              <a:t>H</a:t>
            </a:r>
            <a:r>
              <a:rPr sz="2400" baseline="-25000">
                <a:solidFill>
                  <a:schemeClr val="accent1"/>
                </a:solidFill>
              </a:rPr>
              <a:t>1                                 </a:t>
            </a:r>
            <a:r>
              <a:rPr sz="2400"/>
              <a:t>H</a:t>
            </a:r>
            <a:r>
              <a:rPr sz="2400" baseline="-25000"/>
              <a:t>2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                                                                           prior dist.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H</a:t>
            </a:r>
            <a:r>
              <a:rPr sz="2400" baseline="-25000">
                <a:solidFill>
                  <a:schemeClr val="accent1"/>
                </a:solidFill>
              </a:rPr>
              <a:t>1</a:t>
            </a:r>
            <a:r>
              <a:rPr sz="2400"/>
              <a:t>) = P(    </a:t>
            </a:r>
            <a:r>
              <a:rPr sz="2400">
                <a:solidFill>
                  <a:schemeClr val="accent1"/>
                </a:solidFill>
              </a:rPr>
              <a:t>9AM   </a:t>
            </a:r>
            <a:r>
              <a:rPr sz="2400"/>
              <a:t>) = 4.16%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P(</a:t>
            </a:r>
            <a:r>
              <a:rPr sz="2400">
                <a:solidFill>
                  <a:srgbClr val="843C0B"/>
                </a:solidFill>
              </a:rPr>
              <a:t>H</a:t>
            </a:r>
            <a:r>
              <a:rPr sz="2400" baseline="-25000">
                <a:solidFill>
                  <a:srgbClr val="843C0B"/>
                </a:solidFill>
              </a:rPr>
              <a:t>2</a:t>
            </a:r>
            <a:r>
              <a:rPr sz="2400"/>
              <a:t>) = P(</a:t>
            </a:r>
            <a:r>
              <a:rPr sz="2400">
                <a:solidFill>
                  <a:srgbClr val="843C0C"/>
                </a:solidFill>
              </a:rPr>
              <a:t>not 9AM</a:t>
            </a:r>
            <a:r>
              <a:rPr sz="2400"/>
              <a:t>) = 95.84%      </a:t>
            </a:r>
          </a:p>
        </p:txBody>
      </p:sp>
      <p:sp>
        <p:nvSpPr>
          <p:cNvPr id="139" name="Shape 139"/>
          <p:cNvSpPr/>
          <p:nvPr/>
        </p:nvSpPr>
        <p:spPr>
          <a:xfrm>
            <a:off x="6361793" y="1797884"/>
            <a:ext cx="10706" cy="266828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40" name="Shape 140"/>
          <p:cNvSpPr/>
          <p:nvPr/>
        </p:nvSpPr>
        <p:spPr>
          <a:xfrm flipH="1" flipV="1">
            <a:off x="6382188" y="4475883"/>
            <a:ext cx="3376050" cy="4559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41" name="Shape 141"/>
          <p:cNvSpPr/>
          <p:nvPr/>
        </p:nvSpPr>
        <p:spPr>
          <a:xfrm>
            <a:off x="6975438" y="4352020"/>
            <a:ext cx="442395" cy="114152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2" name="Shape 142"/>
          <p:cNvSpPr/>
          <p:nvPr/>
        </p:nvSpPr>
        <p:spPr>
          <a:xfrm>
            <a:off x="8768978" y="1740808"/>
            <a:ext cx="442395" cy="2735076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3" name="Shape 143"/>
          <p:cNvSpPr/>
          <p:nvPr/>
        </p:nvSpPr>
        <p:spPr>
          <a:xfrm>
            <a:off x="9475606" y="1"/>
            <a:ext cx="1192397" cy="929641"/>
          </a:xfrm>
          <a:prstGeom prst="rect">
            <a:avLst/>
          </a:prstGeom>
          <a:solidFill>
            <a:srgbClr val="38572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4.16%</a:t>
            </a:r>
          </a:p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Right</a:t>
            </a:r>
          </a:p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Time</a:t>
            </a:r>
          </a:p>
        </p:txBody>
      </p:sp>
      <p:sp>
        <p:nvSpPr>
          <p:cNvPr id="144" name="Shape 144"/>
          <p:cNvSpPr/>
          <p:nvPr/>
        </p:nvSpPr>
        <p:spPr>
          <a:xfrm>
            <a:off x="6049462" y="1649726"/>
            <a:ext cx="452548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600">
                <a:solidFill>
                  <a:srgbClr val="595959"/>
                </a:solidFill>
              </a:defRPr>
            </a:lvl1pPr>
          </a:lstStyle>
          <a:p>
            <a:r>
              <a:t>P</a:t>
            </a:r>
          </a:p>
        </p:txBody>
      </p:sp>
      <p:sp>
        <p:nvSpPr>
          <p:cNvPr id="145" name="Shape 145"/>
          <p:cNvSpPr/>
          <p:nvPr/>
        </p:nvSpPr>
        <p:spPr>
          <a:xfrm>
            <a:off x="2224718" y="2540274"/>
            <a:ext cx="3810153" cy="23391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2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New information: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200"/>
              <a:t>5 train is full</a:t>
            </a:r>
          </a:p>
          <a:p>
            <a:pPr>
              <a:defRPr sz="20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000"/>
          </a:p>
          <a:p>
            <a:pPr>
              <a:defRPr sz="20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000"/>
              <a:t>              </a:t>
            </a:r>
            <a:r>
              <a:rPr sz="2000">
                <a:latin typeface="Adobe Garamond Pro"/>
                <a:ea typeface="Adobe Garamond Pro"/>
                <a:cs typeface="Adobe Garamond Pro"/>
                <a:sym typeface="Adobe Garamond Pro"/>
              </a:rPr>
              <a:t>         P(</a:t>
            </a:r>
            <a:r>
              <a:rPr sz="20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5tf</a:t>
            </a:r>
            <a:r>
              <a:rPr sz="2000">
                <a:latin typeface="Adobe Garamond Pro"/>
                <a:ea typeface="Adobe Garamond Pro"/>
                <a:cs typeface="Adobe Garamond Pro"/>
                <a:sym typeface="Adobe Garamond Pro"/>
              </a:rPr>
              <a:t>|</a:t>
            </a:r>
            <a:r>
              <a:rPr sz="20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9AM</a:t>
            </a:r>
            <a:r>
              <a:rPr sz="2000">
                <a:latin typeface="Adobe Garamond Pro"/>
                <a:ea typeface="Adobe Garamond Pro"/>
                <a:cs typeface="Adobe Garamond Pro"/>
                <a:sym typeface="Adobe Garamond Pro"/>
              </a:rPr>
              <a:t>) P(</a:t>
            </a:r>
            <a:r>
              <a:rPr sz="2000">
                <a:solidFill>
                  <a:schemeClr val="accent1"/>
                </a:solidFill>
                <a:latin typeface="Adobe Garamond Pro"/>
                <a:ea typeface="Adobe Garamond Pro"/>
                <a:cs typeface="Adobe Garamond Pro"/>
                <a:sym typeface="Adobe Garamond Pro"/>
              </a:rPr>
              <a:t>9AM</a:t>
            </a:r>
            <a:r>
              <a:rPr sz="2000">
                <a:latin typeface="Adobe Garamond Pro"/>
                <a:ea typeface="Adobe Garamond Pro"/>
                <a:cs typeface="Adobe Garamond Pro"/>
                <a:sym typeface="Adobe Garamond Pro"/>
              </a:rPr>
              <a:t>)</a:t>
            </a:r>
          </a:p>
          <a:p>
            <a:pPr>
              <a:defRPr sz="20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000"/>
              <a:t>P(</a:t>
            </a:r>
            <a:r>
              <a:rPr sz="2000">
                <a:solidFill>
                  <a:schemeClr val="accent1"/>
                </a:solidFill>
              </a:rPr>
              <a:t>9AM</a:t>
            </a:r>
            <a:r>
              <a:rPr sz="2000"/>
              <a:t>|</a:t>
            </a:r>
            <a:r>
              <a:rPr sz="2000">
                <a:solidFill>
                  <a:schemeClr val="accent6"/>
                </a:solidFill>
              </a:rPr>
              <a:t>5tf</a:t>
            </a:r>
            <a:r>
              <a:rPr sz="2000"/>
              <a:t>)= </a:t>
            </a:r>
          </a:p>
          <a:p>
            <a:pPr>
              <a:defRPr sz="2000">
                <a:solidFill>
                  <a:srgbClr val="595959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r>
              <a:rPr sz="2000"/>
              <a:t>                                 P(</a:t>
            </a:r>
            <a:r>
              <a:rPr sz="2000">
                <a:solidFill>
                  <a:schemeClr val="accent6"/>
                </a:solidFill>
              </a:rPr>
              <a:t>5tf</a:t>
            </a:r>
            <a:r>
              <a:rPr sz="2000"/>
              <a:t>)</a:t>
            </a:r>
          </a:p>
          <a:p>
            <a:pPr>
              <a:defRPr sz="2200">
                <a:solidFill>
                  <a:schemeClr val="accent6"/>
                </a:solidFill>
                <a:latin typeface="Adobe Garamond Pro"/>
                <a:ea typeface="Adobe Garamond Pro"/>
                <a:cs typeface="Adobe Garamond Pro"/>
                <a:sym typeface="Adobe Garamond Pro"/>
              </a:defRPr>
            </a:pPr>
            <a:endParaRPr sz="2200"/>
          </a:p>
        </p:txBody>
      </p:sp>
      <p:sp>
        <p:nvSpPr>
          <p:cNvPr id="146" name="Shape 146"/>
          <p:cNvSpPr/>
          <p:nvPr/>
        </p:nvSpPr>
        <p:spPr>
          <a:xfrm>
            <a:off x="3728342" y="4058593"/>
            <a:ext cx="2175145" cy="1"/>
          </a:xfrm>
          <a:prstGeom prst="line">
            <a:avLst/>
          </a:prstGeom>
          <a:ln w="28575">
            <a:solidFill>
              <a:srgbClr val="595959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/>
          <p:nvPr/>
        </p:nvSpPr>
        <p:spPr>
          <a:xfrm>
            <a:off x="2230006" y="570514"/>
            <a:ext cx="8267159" cy="58785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What time is it? Is it 9 AM?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endParaRPr sz="2400"/>
          </a:p>
          <a:p>
            <a:pPr>
              <a:defRPr sz="2400">
                <a:solidFill>
                  <a:schemeClr val="accent1"/>
                </a:solidFill>
              </a:defRPr>
            </a:pPr>
            <a:r>
              <a:rPr sz="2400"/>
              <a:t>H</a:t>
            </a:r>
            <a:r>
              <a:rPr sz="2400" baseline="-25000"/>
              <a:t>1</a:t>
            </a:r>
            <a:r>
              <a:rPr sz="2400"/>
              <a:t> : It is 9 AM  </a:t>
            </a:r>
            <a:r>
              <a:rPr sz="2400">
                <a:solidFill>
                  <a:srgbClr val="BFBFBF"/>
                </a:solidFill>
              </a:rPr>
              <a:t>(9 to 10)</a:t>
            </a:r>
          </a:p>
          <a:p>
            <a:pPr>
              <a:defRPr sz="2400">
                <a:solidFill>
                  <a:srgbClr val="843C0B"/>
                </a:solidFill>
              </a:defRPr>
            </a:pPr>
            <a:r>
              <a:rPr sz="2400"/>
              <a:t>H</a:t>
            </a:r>
            <a:r>
              <a:rPr sz="2400" baseline="-25000"/>
              <a:t>2</a:t>
            </a:r>
            <a:r>
              <a:rPr sz="2400"/>
              <a:t> : It is </a:t>
            </a:r>
            <a:r>
              <a:rPr sz="2400" b="1"/>
              <a:t>not</a:t>
            </a:r>
            <a:r>
              <a:rPr sz="2400"/>
              <a:t> 9 AM</a:t>
            </a:r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endParaRPr sz="2400"/>
          </a:p>
          <a:p>
            <a:pPr>
              <a:defRPr sz="2400">
                <a:solidFill>
                  <a:srgbClr val="843C0B"/>
                </a:solidFill>
              </a:defRPr>
            </a:pPr>
            <a:r>
              <a:rPr sz="2400"/>
              <a:t>                                                                     </a:t>
            </a:r>
            <a:r>
              <a:rPr sz="2400">
                <a:solidFill>
                  <a:schemeClr val="accent1"/>
                </a:solidFill>
              </a:rPr>
              <a:t>H</a:t>
            </a:r>
            <a:r>
              <a:rPr sz="2400" baseline="-25000">
                <a:solidFill>
                  <a:schemeClr val="accent1"/>
                </a:solidFill>
              </a:rPr>
              <a:t>1                                 </a:t>
            </a:r>
            <a:r>
              <a:rPr sz="2400"/>
              <a:t>H</a:t>
            </a:r>
            <a:r>
              <a:rPr sz="2400" baseline="-25000"/>
              <a:t>2</a:t>
            </a:r>
          </a:p>
          <a:p>
            <a:pPr>
              <a:defRPr sz="2400" baseline="-25000">
                <a:solidFill>
                  <a:srgbClr val="843C0B"/>
                </a:solidFill>
              </a:defRPr>
            </a:pPr>
            <a:r>
              <a:rPr sz="2400"/>
              <a:t>                                                                                                                 </a:t>
            </a:r>
            <a:r>
              <a:rPr sz="2400">
                <a:solidFill>
                  <a:srgbClr val="595959"/>
                </a:solidFill>
              </a:rPr>
              <a:t>posterior dist.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P(</a:t>
            </a:r>
            <a:r>
              <a:rPr sz="2400">
                <a:solidFill>
                  <a:schemeClr val="accent1"/>
                </a:solidFill>
              </a:rPr>
              <a:t>H</a:t>
            </a:r>
            <a:r>
              <a:rPr sz="2400" baseline="-25000">
                <a:solidFill>
                  <a:schemeClr val="accent1"/>
                </a:solidFill>
              </a:rPr>
              <a:t>1</a:t>
            </a:r>
            <a:r>
              <a:rPr sz="2400"/>
              <a:t>) = P(   </a:t>
            </a:r>
            <a:r>
              <a:rPr sz="2400">
                <a:solidFill>
                  <a:schemeClr val="accent1"/>
                </a:solidFill>
              </a:rPr>
              <a:t>9AM    </a:t>
            </a:r>
            <a:r>
              <a:rPr sz="2400">
                <a:latin typeface="American Typewriter"/>
                <a:ea typeface="American Typewriter"/>
                <a:cs typeface="American Typewriter"/>
                <a:sym typeface="American Typewriter"/>
              </a:rPr>
              <a:t>|</a:t>
            </a:r>
            <a:r>
              <a:rPr sz="2400">
                <a:solidFill>
                  <a:schemeClr val="accent6"/>
                </a:solidFill>
                <a:latin typeface="American Typewriter"/>
                <a:ea typeface="American Typewriter"/>
                <a:cs typeface="American Typewriter"/>
                <a:sym typeface="American Typewriter"/>
              </a:rPr>
              <a:t>5tf</a:t>
            </a:r>
            <a:r>
              <a:rPr sz="2400"/>
              <a:t>) = 13.19%</a:t>
            </a:r>
          </a:p>
          <a:p>
            <a:pPr>
              <a:defRPr sz="2400">
                <a:solidFill>
                  <a:srgbClr val="595959"/>
                </a:solidFill>
              </a:defRPr>
            </a:pPr>
            <a:r>
              <a:rPr sz="2400"/>
              <a:t>P(</a:t>
            </a:r>
            <a:r>
              <a:rPr sz="2400">
                <a:solidFill>
                  <a:srgbClr val="843C0B"/>
                </a:solidFill>
              </a:rPr>
              <a:t>H</a:t>
            </a:r>
            <a:r>
              <a:rPr sz="2400" baseline="-25000">
                <a:solidFill>
                  <a:srgbClr val="843C0B"/>
                </a:solidFill>
              </a:rPr>
              <a:t>2</a:t>
            </a:r>
            <a:r>
              <a:rPr sz="2400"/>
              <a:t>) = P(</a:t>
            </a:r>
            <a:r>
              <a:rPr sz="2400">
                <a:solidFill>
                  <a:srgbClr val="843C0C"/>
                </a:solidFill>
              </a:rPr>
              <a:t>not 9AM</a:t>
            </a:r>
            <a:r>
              <a:rPr sz="2400">
                <a:latin typeface="American Typewriter"/>
                <a:ea typeface="American Typewriter"/>
                <a:cs typeface="American Typewriter"/>
                <a:sym typeface="American Typewriter"/>
              </a:rPr>
              <a:t>|</a:t>
            </a:r>
            <a:r>
              <a:rPr sz="2400">
                <a:solidFill>
                  <a:schemeClr val="accent6"/>
                </a:solidFill>
                <a:latin typeface="American Typewriter"/>
                <a:ea typeface="American Typewriter"/>
                <a:cs typeface="American Typewriter"/>
                <a:sym typeface="American Typewriter"/>
              </a:rPr>
              <a:t>5tf</a:t>
            </a:r>
            <a:r>
              <a:rPr sz="2400"/>
              <a:t>) = 86.81%</a:t>
            </a:r>
          </a:p>
        </p:txBody>
      </p:sp>
      <p:sp>
        <p:nvSpPr>
          <p:cNvPr id="149" name="Shape 149"/>
          <p:cNvSpPr/>
          <p:nvPr/>
        </p:nvSpPr>
        <p:spPr>
          <a:xfrm>
            <a:off x="6361793" y="1797884"/>
            <a:ext cx="10706" cy="2668288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50" name="Shape 150"/>
          <p:cNvSpPr/>
          <p:nvPr/>
        </p:nvSpPr>
        <p:spPr>
          <a:xfrm flipH="1" flipV="1">
            <a:off x="6382188" y="4475883"/>
            <a:ext cx="3376050" cy="4559"/>
          </a:xfrm>
          <a:prstGeom prst="line">
            <a:avLst/>
          </a:prstGeom>
          <a:ln w="1270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51" name="Shape 151"/>
          <p:cNvSpPr/>
          <p:nvPr/>
        </p:nvSpPr>
        <p:spPr>
          <a:xfrm>
            <a:off x="6975438" y="4052374"/>
            <a:ext cx="442395" cy="413799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2" name="Shape 152"/>
          <p:cNvSpPr/>
          <p:nvPr/>
        </p:nvSpPr>
        <p:spPr>
          <a:xfrm>
            <a:off x="8768978" y="2197413"/>
            <a:ext cx="442395" cy="2278470"/>
          </a:xfrm>
          <a:prstGeom prst="rect">
            <a:avLst/>
          </a:prstGeom>
          <a:gradFill>
            <a:gsLst>
              <a:gs pos="0">
                <a:srgbClr val="70A6DB"/>
              </a:gs>
              <a:gs pos="50000">
                <a:srgbClr val="559BDB"/>
              </a:gs>
              <a:gs pos="100000">
                <a:srgbClr val="448AC9"/>
              </a:gs>
            </a:gsLst>
            <a:lin ang="5400000"/>
          </a:gradFill>
          <a:ln w="635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3" name="Shape 153"/>
          <p:cNvSpPr/>
          <p:nvPr/>
        </p:nvSpPr>
        <p:spPr>
          <a:xfrm>
            <a:off x="9475606" y="1"/>
            <a:ext cx="1192397" cy="929641"/>
          </a:xfrm>
          <a:prstGeom prst="rect">
            <a:avLst/>
          </a:prstGeom>
          <a:solidFill>
            <a:srgbClr val="38572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13.19%</a:t>
            </a:r>
          </a:p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Right</a:t>
            </a:r>
          </a:p>
          <a:p>
            <a:pPr algn="r">
              <a:defRPr>
                <a:solidFill>
                  <a:srgbClr val="7EDD5F"/>
                </a:solidFill>
                <a:latin typeface="OCR A Std"/>
                <a:ea typeface="OCR A Std"/>
                <a:cs typeface="OCR A Std"/>
                <a:sym typeface="OCR A Std"/>
              </a:defRPr>
            </a:pPr>
            <a:r>
              <a:t>Time</a:t>
            </a:r>
          </a:p>
        </p:txBody>
      </p:sp>
      <p:sp>
        <p:nvSpPr>
          <p:cNvPr id="154" name="Shape 154"/>
          <p:cNvSpPr/>
          <p:nvPr/>
        </p:nvSpPr>
        <p:spPr>
          <a:xfrm>
            <a:off x="6049462" y="1649726"/>
            <a:ext cx="452548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2600">
                <a:solidFill>
                  <a:srgbClr val="595959"/>
                </a:solidFill>
              </a:defRPr>
            </a:lvl1pPr>
          </a:lstStyle>
          <a:p>
            <a:r>
              <a:t>P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Shape 156"/>
          <p:cNvSpPr/>
          <p:nvPr/>
        </p:nvSpPr>
        <p:spPr>
          <a:xfrm>
            <a:off x="2230006" y="570515"/>
            <a:ext cx="7963453" cy="19389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What is classification?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2400"/>
          </a:p>
          <a:p>
            <a:pPr>
              <a:defRPr sz="2400">
                <a:solidFill>
                  <a:schemeClr val="accent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Deciding among hypotheses </a:t>
            </a:r>
            <a:r>
              <a:rPr sz="2400">
                <a:solidFill>
                  <a:srgbClr val="595959"/>
                </a:solidFill>
              </a:rPr>
              <a:t>(labels),</a:t>
            </a:r>
          </a:p>
          <a:p>
            <a:pPr>
              <a:defRPr sz="2400">
                <a:solidFill>
                  <a:schemeClr val="accent6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using information we have </a:t>
            </a:r>
            <a:r>
              <a:rPr sz="2400">
                <a:solidFill>
                  <a:srgbClr val="595959"/>
                </a:solidFill>
              </a:rPr>
              <a:t>(features)</a:t>
            </a:r>
          </a:p>
          <a:p>
            <a:pPr>
              <a:defRPr sz="2400">
                <a:solidFill>
                  <a:srgbClr val="595959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2400"/>
              <a:t>for each exampl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tis-Theme-Blue">
  <a:themeElements>
    <a:clrScheme name="Custom 3">
      <a:dk1>
        <a:srgbClr val="000000"/>
      </a:dk1>
      <a:lt1>
        <a:srgbClr val="FFFFFF"/>
      </a:lt1>
      <a:dk2>
        <a:srgbClr val="454551"/>
      </a:dk2>
      <a:lt2>
        <a:srgbClr val="797979"/>
      </a:lt2>
      <a:accent1>
        <a:srgbClr val="EC138B"/>
      </a:accent1>
      <a:accent2>
        <a:srgbClr val="ED3167"/>
      </a:accent2>
      <a:accent3>
        <a:srgbClr val="359ED8"/>
      </a:accent3>
      <a:accent4>
        <a:srgbClr val="255E83"/>
      </a:accent4>
      <a:accent5>
        <a:srgbClr val="B7315B"/>
      </a:accent5>
      <a:accent6>
        <a:srgbClr val="253C6F"/>
      </a:accent6>
      <a:hlink>
        <a:srgbClr val="EC138B"/>
      </a:hlink>
      <a:folHlink>
        <a:srgbClr val="255E83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>
    <a:txDef>
      <a:spPr/>
      <a:bodyPr vert="horz" wrap="square" lIns="0" tIns="30480" rIns="0" bIns="0" rtlCol="0">
        <a:spAutoFit/>
      </a:bodyPr>
      <a:lstStyle>
        <a:defPPr marL="12700" marR="5080" algn="l">
          <a:lnSpc>
            <a:spcPts val="3200"/>
          </a:lnSpc>
          <a:spcBef>
            <a:spcPts val="240"/>
          </a:spcBef>
          <a:defRPr sz="2700" dirty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is-Theme-Blue" id="{BF2D2F3B-D2C2-CC4A-BE99-788119D99097}" vid="{35E1C0B5-C3CF-DC42-8870-638EE0616E6D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is-Theme-Blue</Template>
  <TotalTime>0</TotalTime>
  <Words>3574</Words>
  <Application>Microsoft Macintosh PowerPoint</Application>
  <PresentationFormat>Widescreen</PresentationFormat>
  <Paragraphs>1019</Paragraphs>
  <Slides>6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76" baseType="lpstr">
      <vt:lpstr>Adobe Garamond Pro</vt:lpstr>
      <vt:lpstr>American Typewriter</vt:lpstr>
      <vt:lpstr>Arial</vt:lpstr>
      <vt:lpstr>Calibri</vt:lpstr>
      <vt:lpstr>Courier New</vt:lpstr>
      <vt:lpstr>Gill Sans MT</vt:lpstr>
      <vt:lpstr>Helvetica</vt:lpstr>
      <vt:lpstr>OCR A Std</vt:lpstr>
      <vt:lpstr>Wingdings 3</vt:lpstr>
      <vt:lpstr>Metis-Theme-Blue</vt:lpstr>
      <vt:lpstr>think-cell Slide</vt:lpstr>
      <vt:lpstr>Naive Bay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ive Bayes</dc:title>
  <cp:lastModifiedBy>Sophia Ray</cp:lastModifiedBy>
  <cp:revision>1</cp:revision>
  <dcterms:modified xsi:type="dcterms:W3CDTF">2018-11-20T21:56:13Z</dcterms:modified>
</cp:coreProperties>
</file>